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747" r:id="rId3"/>
    <p:sldMasterId id="2147483832" r:id="rId4"/>
    <p:sldMasterId id="2147483835" r:id="rId5"/>
  </p:sldMasterIdLst>
  <p:notesMasterIdLst>
    <p:notesMasterId r:id="rId20"/>
  </p:notesMasterIdLst>
  <p:sldIdLst>
    <p:sldId id="536" r:id="rId6"/>
    <p:sldId id="537" r:id="rId7"/>
    <p:sldId id="538" r:id="rId8"/>
    <p:sldId id="539" r:id="rId9"/>
    <p:sldId id="540" r:id="rId10"/>
    <p:sldId id="541" r:id="rId11"/>
    <p:sldId id="542" r:id="rId12"/>
    <p:sldId id="543" r:id="rId13"/>
    <p:sldId id="544" r:id="rId14"/>
    <p:sldId id="545" r:id="rId15"/>
    <p:sldId id="546" r:id="rId16"/>
    <p:sldId id="547" r:id="rId17"/>
    <p:sldId id="548" r:id="rId18"/>
    <p:sldId id="549" r:id="rId19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544" autoAdjust="0"/>
    <p:restoredTop sz="94660"/>
  </p:normalViewPr>
  <p:slideViewPr>
    <p:cSldViewPr>
      <p:cViewPr varScale="1">
        <p:scale>
          <a:sx n="87" d="100"/>
          <a:sy n="87" d="100"/>
        </p:scale>
        <p:origin x="-546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629D-CD5A-4C49-9CDA-EEAC74C8623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67B0F-8899-4363-B1FF-1F9166B639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AU" smtClean="0"/>
          </a:p>
        </p:txBody>
      </p:sp>
      <p:sp>
        <p:nvSpPr>
          <p:cNvPr id="358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E46DF1B0-E94A-48A6-A4F7-9736EAE0956D}" type="slidenum">
              <a:rPr lang="en-US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AU" smtClean="0"/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E46A32F4-CB09-4B3B-9EA4-B6D81C7026D3}" type="slidenum">
              <a:rPr lang="en-US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dirty="0" smtClean="0"/>
              <a:t>1089 Total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AU" dirty="0" smtClean="0"/>
              <a:t>469 MSHC, 511 RWH, 109 external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AU" dirty="0" smtClean="0"/>
              <a:t>MSHC – symptomatic – NGU, cervicitis, and/or PID, sexual contacts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AU" dirty="0" smtClean="0"/>
              <a:t>RWH – asymptomatic females – seeking contraceptive advice, IUD, referral for medical and surgical termination of pregnancy, some me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AU" dirty="0" smtClean="0"/>
              <a:t>External – STI screening</a:t>
            </a:r>
            <a:endParaRPr lang="en-AU" dirty="0"/>
          </a:p>
        </p:txBody>
      </p:sp>
      <p:sp>
        <p:nvSpPr>
          <p:cNvPr id="3993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4C24B43B-C529-46BF-8038-BA2188F9B3D6}" type="slidenum">
              <a:rPr lang="en-US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4D7381B-9E71-0E48-AD4B-6C8B2D964AA8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76543" y="1884363"/>
            <a:ext cx="6088696" cy="48736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00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US" sz="3000" dirty="0" smtClean="0">
                <a:solidFill>
                  <a:schemeClr val="tx1"/>
                </a:solidFill>
                <a:latin typeface="Arial Narrow"/>
                <a:cs typeface="Arial Narrow"/>
              </a:rPr>
              <a:t>TITLE PAGE (30pt Arial Narrow)</a:t>
            </a:r>
            <a:endParaRPr lang="en-US" sz="30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76542" y="2646680"/>
            <a:ext cx="6088697" cy="48736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00" baseline="0">
                <a:solidFill>
                  <a:srgbClr val="000000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GB" sz="18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SUB HEADLINE / PRESENTER (18pt Arial Narrow)</a:t>
            </a:r>
            <a:endParaRPr lang="en-GB" sz="18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96799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99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4355976" y="162200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2" y="19476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92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95" y="191793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88" y="2349109"/>
            <a:ext cx="3857625" cy="1858565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5788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1" y="1257303"/>
            <a:ext cx="8229600" cy="32789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3298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831" y="185092"/>
            <a:ext cx="8229600" cy="857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0832" y="1164983"/>
            <a:ext cx="8229600" cy="32789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05321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899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1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750771"/>
            <a:ext cx="8130339" cy="517642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130339" cy="320778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497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5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99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11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7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29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91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6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s-1-widescreen-FIN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  <p:pic>
        <p:nvPicPr>
          <p:cNvPr id="1026" name="Picture 2" descr="http://www.behaviourworksaustralia.org/V2/wp-content/uploads/2015/12/Monash_2-RGB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t="14176" r="8088" b="14938"/>
          <a:stretch/>
        </p:blipFill>
        <p:spPr bwMode="auto">
          <a:xfrm>
            <a:off x="317499" y="228600"/>
            <a:ext cx="1935843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5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838074"/>
            <a:ext cx="82089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dirty="0" smtClean="0"/>
              <a:t>Click to edit Master title style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663701"/>
            <a:ext cx="8442325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smtClean="0"/>
              <a:t>Click to edit Master text styles</a:t>
            </a:r>
          </a:p>
          <a:p>
            <a:pPr lvl="1"/>
            <a:r>
              <a:rPr lang="en-AU" altLang="en-US" smtClean="0"/>
              <a:t>Second level</a:t>
            </a:r>
          </a:p>
          <a:p>
            <a:pPr lvl="2"/>
            <a:r>
              <a:rPr lang="en-AU" altLang="en-US" smtClean="0"/>
              <a:t>Third level</a:t>
            </a:r>
          </a:p>
          <a:p>
            <a:pPr lvl="2"/>
            <a:r>
              <a:rPr lang="en-AU" altLang="en-US" smtClean="0"/>
              <a:t>Fourth level</a:t>
            </a:r>
          </a:p>
          <a:p>
            <a:pPr lvl="3"/>
            <a:r>
              <a:rPr lang="en-AU" altLang="en-US" smtClean="0"/>
              <a:t>Fifth level</a:t>
            </a:r>
          </a:p>
        </p:txBody>
      </p:sp>
      <p:pic>
        <p:nvPicPr>
          <p:cNvPr id="17" name="Picture 13" descr="Monash_logo_rgb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842131"/>
            <a:ext cx="18002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9"/>
          <p:cNvGrpSpPr>
            <a:grpSpLocks/>
          </p:cNvGrpSpPr>
          <p:nvPr userDrawn="1"/>
        </p:nvGrpSpPr>
        <p:grpSpPr bwMode="auto">
          <a:xfrm>
            <a:off x="395288" y="241300"/>
            <a:ext cx="8389937" cy="417513"/>
            <a:chOff x="249" y="232"/>
            <a:chExt cx="5285" cy="263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249" y="232"/>
              <a:ext cx="5285" cy="2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 userDrawn="1"/>
          </p:nvSpPr>
          <p:spPr bwMode="auto">
            <a:xfrm rot="2700000">
              <a:off x="390" y="314"/>
              <a:ext cx="182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</p:grp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133600" y="4740905"/>
            <a:ext cx="1536699" cy="37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08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graphic-corne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200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5" descr="page-1_X.png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63" y="0"/>
            <a:ext cx="37417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6" descr="0810154 SpeeDx 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20663"/>
            <a:ext cx="22145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28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sosceles Triangle 23"/>
          <p:cNvSpPr/>
          <p:nvPr userDrawn="1"/>
        </p:nvSpPr>
        <p:spPr>
          <a:xfrm>
            <a:off x="-6350" y="3508375"/>
            <a:ext cx="755650" cy="1641475"/>
          </a:xfrm>
          <a:prstGeom prst="triangle">
            <a:avLst>
              <a:gd name="adj" fmla="val 0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1267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195263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br>
              <a:rPr lang="en-US" smtClean="0"/>
            </a:br>
            <a:endParaRPr lang="en-AU" smtClean="0"/>
          </a:p>
        </p:txBody>
      </p:sp>
      <p:sp>
        <p:nvSpPr>
          <p:cNvPr id="11268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71475" y="1176338"/>
            <a:ext cx="810895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pic>
        <p:nvPicPr>
          <p:cNvPr id="11269" name="Picture 10" descr="0810154 SpeeDx logo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525" y="123825"/>
            <a:ext cx="11525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apezoid 8"/>
          <p:cNvSpPr/>
          <p:nvPr userDrawn="1"/>
        </p:nvSpPr>
        <p:spPr>
          <a:xfrm>
            <a:off x="-1588" y="0"/>
            <a:ext cx="2270126" cy="146050"/>
          </a:xfrm>
          <a:prstGeom prst="trapezoid">
            <a:avLst>
              <a:gd name="adj" fmla="val 40615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8" name="Trapezoid 27"/>
          <p:cNvSpPr/>
          <p:nvPr userDrawn="1"/>
        </p:nvSpPr>
        <p:spPr>
          <a:xfrm rot="5400000">
            <a:off x="-723900" y="722312"/>
            <a:ext cx="1590675" cy="146051"/>
          </a:xfrm>
          <a:prstGeom prst="trapezoid">
            <a:avLst>
              <a:gd name="adj" fmla="val 102571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588" y="0"/>
            <a:ext cx="146051" cy="146050"/>
          </a:xfrm>
          <a:prstGeom prst="rect">
            <a:avLst/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9" name="Parallelogram 28"/>
          <p:cNvSpPr/>
          <p:nvPr userDrawn="1"/>
        </p:nvSpPr>
        <p:spPr>
          <a:xfrm rot="10800000" flipV="1">
            <a:off x="4538663" y="4878388"/>
            <a:ext cx="1408112" cy="265112"/>
          </a:xfrm>
          <a:prstGeom prst="parallelogram">
            <a:avLst>
              <a:gd name="adj" fmla="val 25690"/>
            </a:avLst>
          </a:prstGeom>
          <a:solidFill>
            <a:srgbClr val="003D46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0" name="Parallelogram 29"/>
          <p:cNvSpPr/>
          <p:nvPr userDrawn="1"/>
        </p:nvSpPr>
        <p:spPr>
          <a:xfrm rot="10800000" flipV="1">
            <a:off x="5905500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1" name="Parallelogram 30"/>
          <p:cNvSpPr/>
          <p:nvPr userDrawn="1"/>
        </p:nvSpPr>
        <p:spPr>
          <a:xfrm rot="10800000" flipV="1">
            <a:off x="7273925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 rot="10800000" flipV="1">
            <a:off x="8640763" y="4878388"/>
            <a:ext cx="503237" cy="265112"/>
          </a:xfrm>
          <a:prstGeom prst="parallelogram">
            <a:avLst>
              <a:gd name="adj" fmla="val 25690"/>
            </a:avLst>
          </a:prstGeom>
          <a:solidFill>
            <a:srgbClr val="ED1C2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83663" y="4878388"/>
            <a:ext cx="160337" cy="265112"/>
          </a:xfrm>
          <a:prstGeom prst="rect">
            <a:avLst/>
          </a:prstGeom>
          <a:solidFill>
            <a:srgbClr val="ED1C29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5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200" b="1" i="1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2pPr>
      <a:lvl3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3pPr>
      <a:lvl4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4pPr>
      <a:lvl5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Blip>
          <a:blip r:embed="rId5"/>
        </a:buBlip>
        <a:defRPr sz="28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22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littyt@speedx.com.au" TargetMode="Externa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itle 1"/>
          <p:cNvSpPr>
            <a:spLocks noGrp="1"/>
          </p:cNvSpPr>
          <p:nvPr>
            <p:ph type="title"/>
          </p:nvPr>
        </p:nvSpPr>
        <p:spPr bwMode="auto">
          <a:xfrm>
            <a:off x="107950" y="1185863"/>
            <a:ext cx="6840538" cy="18589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AU" sz="3600" smtClean="0">
                <a:solidFill>
                  <a:srgbClr val="00394A"/>
                </a:solidFill>
                <a:ea typeface="Open Sans"/>
                <a:cs typeface="Open Sans"/>
              </a:rPr>
              <a:t>A qPCR assay that simultaneously detects </a:t>
            </a:r>
            <a:r>
              <a:rPr lang="en-AU" sz="3600" i="1" smtClean="0">
                <a:solidFill>
                  <a:srgbClr val="00394A"/>
                </a:solidFill>
                <a:ea typeface="Open Sans"/>
                <a:cs typeface="Open Sans"/>
              </a:rPr>
              <a:t>Mycoplasma genitalium</a:t>
            </a:r>
            <a:r>
              <a:rPr lang="en-AU" sz="3600" smtClean="0">
                <a:solidFill>
                  <a:srgbClr val="00394A"/>
                </a:solidFill>
                <a:ea typeface="Open Sans"/>
                <a:cs typeface="Open Sans"/>
              </a:rPr>
              <a:t> and mutations associated with macrolide resistance</a:t>
            </a:r>
            <a:br>
              <a:rPr lang="en-AU" sz="3600" smtClean="0">
                <a:solidFill>
                  <a:srgbClr val="00394A"/>
                </a:solidFill>
                <a:ea typeface="Open Sans"/>
                <a:cs typeface="Open Sans"/>
              </a:rPr>
            </a:br>
            <a:r>
              <a:rPr lang="en-AU" sz="3600" smtClean="0">
                <a:solidFill>
                  <a:srgbClr val="00394A"/>
                </a:solidFill>
                <a:ea typeface="Open Sans"/>
                <a:cs typeface="Open Sans"/>
              </a:rPr>
              <a:t> </a:t>
            </a:r>
            <a:r>
              <a:rPr lang="en-AU" b="0" smtClean="0">
                <a:solidFill>
                  <a:srgbClr val="00394A"/>
                </a:solidFill>
                <a:ea typeface="Open Sans"/>
                <a:cs typeface="Open Sans"/>
              </a:rPr>
              <a:t>Litty Tan</a:t>
            </a:r>
            <a:br>
              <a:rPr lang="en-AU" b="0" smtClean="0">
                <a:solidFill>
                  <a:srgbClr val="00394A"/>
                </a:solidFill>
                <a:ea typeface="Open Sans"/>
                <a:cs typeface="Open Sans"/>
              </a:rPr>
            </a:br>
            <a:r>
              <a:rPr lang="en-AU" sz="2000" b="0" smtClean="0">
                <a:solidFill>
                  <a:srgbClr val="00394A"/>
                </a:solidFill>
                <a:ea typeface="Open Sans"/>
                <a:cs typeface="Open Sans"/>
              </a:rPr>
              <a:t>Director of Research &amp; Development</a:t>
            </a:r>
            <a:r>
              <a:rPr lang="en-AU" sz="2400" smtClean="0">
                <a:solidFill>
                  <a:srgbClr val="00394A"/>
                </a:solidFill>
                <a:ea typeface="Open Sans"/>
                <a:cs typeface="Open Sans"/>
              </a:rPr>
              <a:t/>
            </a:r>
            <a:br>
              <a:rPr lang="en-AU" sz="2400" smtClean="0">
                <a:solidFill>
                  <a:srgbClr val="00394A"/>
                </a:solidFill>
                <a:ea typeface="Open Sans"/>
                <a:cs typeface="Open Sans"/>
              </a:rPr>
            </a:br>
            <a:r>
              <a:rPr lang="en-AU" sz="2000" b="0" smtClean="0">
                <a:ea typeface="Open Sans"/>
                <a:cs typeface="Open Sans"/>
                <a:hlinkClick r:id="rId2"/>
              </a:rPr>
              <a:t>littyt@speedx.com.au</a:t>
            </a:r>
            <a:r>
              <a:rPr lang="en-AU" sz="2000" b="0" smtClean="0">
                <a:ea typeface="Open Sans"/>
                <a:cs typeface="Open Sans"/>
              </a:rPr>
              <a:t> </a:t>
            </a:r>
            <a:r>
              <a:rPr lang="en-AU" sz="2000" smtClean="0">
                <a:solidFill>
                  <a:srgbClr val="00394A"/>
                </a:solidFill>
                <a:ea typeface="Open Sans"/>
                <a:cs typeface="Open Sans"/>
              </a:rPr>
              <a:t/>
            </a:r>
            <a:br>
              <a:rPr lang="en-AU" sz="2000" smtClean="0">
                <a:solidFill>
                  <a:srgbClr val="00394A"/>
                </a:solidFill>
                <a:ea typeface="Open Sans"/>
                <a:cs typeface="Open Sans"/>
              </a:rPr>
            </a:br>
            <a:endParaRPr lang="en-AU" sz="2000" smtClean="0">
              <a:solidFill>
                <a:srgbClr val="00394A"/>
              </a:solidFill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07837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rtlCol="0" anchor="t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AU" sz="3100" i="1" dirty="0" err="1" smtClean="0">
                <a:solidFill>
                  <a:srgbClr val="EC1C29"/>
                </a:solidFill>
                <a:cs typeface="Open Sans"/>
              </a:rPr>
              <a:t>Resistance</a:t>
            </a:r>
            <a:r>
              <a:rPr lang="en-AU" sz="3100" i="1" dirty="0" err="1" smtClean="0">
                <a:solidFill>
                  <a:srgbClr val="003D46"/>
                </a:solidFill>
                <a:cs typeface="Open Sans"/>
              </a:rPr>
              <a:t>Plus</a:t>
            </a:r>
            <a:r>
              <a:rPr lang="en-AU" sz="3100" dirty="0" smtClean="0">
                <a:solidFill>
                  <a:srgbClr val="003D46"/>
                </a:solidFill>
                <a:cs typeface="Open Sans"/>
              </a:rPr>
              <a:t>™ MG</a:t>
            </a:r>
            <a:r>
              <a:rPr lang="en-AU" dirty="0" smtClean="0">
                <a:solidFill>
                  <a:srgbClr val="003D46"/>
                </a:solidFill>
                <a:cs typeface="Open Sans"/>
              </a:rPr>
              <a:t/>
            </a:r>
            <a:br>
              <a:rPr lang="en-AU" dirty="0" smtClean="0">
                <a:solidFill>
                  <a:srgbClr val="003D46"/>
                </a:solidFill>
                <a:cs typeface="Open Sans"/>
              </a:rPr>
            </a:br>
            <a:r>
              <a:rPr lang="en-AU" sz="2700" dirty="0" smtClean="0">
                <a:solidFill>
                  <a:srgbClr val="003D46"/>
                </a:solidFill>
                <a:cs typeface="Open Sans"/>
              </a:rPr>
              <a:t>Sensitivity and specificity</a:t>
            </a:r>
            <a:endParaRPr lang="en-AU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646238" y="1203325"/>
          <a:ext cx="6094411" cy="2555874"/>
        </p:xfrm>
        <a:graphic>
          <a:graphicData uri="http://schemas.openxmlformats.org/drawingml/2006/table">
            <a:tbl>
              <a:tblPr firstRow="1" bandRow="1"/>
              <a:tblGrid>
                <a:gridCol w="1269992"/>
                <a:gridCol w="1116097"/>
                <a:gridCol w="1116097"/>
                <a:gridCol w="2592225"/>
              </a:tblGrid>
              <a:tr h="5029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en-AU" sz="1400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dirty="0" smtClean="0">
                          <a:latin typeface="Calibri" panose="020F0502020204030204" pitchFamily="34" charset="0"/>
                        </a:rPr>
                        <a:t>Target</a:t>
                      </a:r>
                      <a:endParaRPr lang="en-AU" sz="1400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Sensitivity (copies/reaction)</a:t>
                      </a:r>
                      <a:endParaRPr lang="en-A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</a:tr>
              <a:tr h="32670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nel 1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34295" marB="34295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MG detection (</a:t>
                      </a:r>
                      <a:r>
                        <a:rPr lang="en-AU" sz="1400" b="1" dirty="0" err="1" smtClean="0">
                          <a:latin typeface="Calibri" panose="020F0502020204030204" pitchFamily="34" charset="0"/>
                        </a:rPr>
                        <a:t>MgPa</a:t>
                      </a: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)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0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rowSpan="5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nel 2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34295" marB="34295" anchor="ctr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rowSpan="5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23S </a:t>
                      </a:r>
                      <a:r>
                        <a:rPr lang="en-AU" sz="1400" b="1" dirty="0" err="1" smtClean="0">
                          <a:latin typeface="Calibri" panose="020F0502020204030204" pitchFamily="34" charset="0"/>
                        </a:rPr>
                        <a:t>rRNA</a:t>
                      </a: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 mutation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8G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2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9G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0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8T</a:t>
                      </a: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8C</a:t>
                      </a: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9C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5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9722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nel 3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34295" marB="34295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Internal Control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n/a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646238" y="3854450"/>
          <a:ext cx="6094412" cy="949418"/>
        </p:xfrm>
        <a:graphic>
          <a:graphicData uri="http://schemas.openxmlformats.org/drawingml/2006/table">
            <a:tbl>
              <a:tblPr firstRow="1" bandRow="1"/>
              <a:tblGrid>
                <a:gridCol w="1269992"/>
                <a:gridCol w="4824420"/>
              </a:tblGrid>
              <a:tr h="3779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en-AU" sz="1400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84" marB="34284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dirty="0" smtClean="0">
                          <a:latin typeface="Calibri" panose="020F0502020204030204" pitchFamily="34" charset="0"/>
                        </a:rPr>
                        <a:t>Specific</a:t>
                      </a:r>
                      <a:r>
                        <a:rPr lang="en-AU" sz="1400" baseline="0" dirty="0" smtClean="0">
                          <a:latin typeface="Calibri" panose="020F0502020204030204" pitchFamily="34" charset="0"/>
                        </a:rPr>
                        <a:t> against other targets</a:t>
                      </a:r>
                      <a:endParaRPr lang="en-AU" sz="1400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84" marB="34284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</a:tr>
              <a:tr h="57139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argets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34284" marB="34284" anchor="ctr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100" b="1" i="1" dirty="0" smtClean="0">
                          <a:latin typeface="Calibri" panose="020F0502020204030204" pitchFamily="34" charset="0"/>
                        </a:rPr>
                        <a:t>M. </a:t>
                      </a:r>
                      <a:r>
                        <a:rPr lang="en-AU" sz="1100" b="1" i="1" dirty="0" err="1" smtClean="0">
                          <a:latin typeface="Calibri" panose="020F0502020204030204" pitchFamily="34" charset="0"/>
                        </a:rPr>
                        <a:t>hominis</a:t>
                      </a:r>
                      <a:r>
                        <a:rPr lang="en-AU" sz="1100" b="1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AU" sz="1100" b="1" i="1" dirty="0" smtClean="0">
                          <a:latin typeface="Calibri" panose="020F0502020204030204" pitchFamily="34" charset="0"/>
                        </a:rPr>
                        <a:t>U. </a:t>
                      </a:r>
                      <a:r>
                        <a:rPr lang="en-AU" sz="1100" b="1" i="1" dirty="0" err="1" smtClean="0">
                          <a:latin typeface="Calibri" panose="020F0502020204030204" pitchFamily="34" charset="0"/>
                        </a:rPr>
                        <a:t>parvum</a:t>
                      </a:r>
                      <a:r>
                        <a:rPr lang="en-AU" sz="1100" b="1" dirty="0" smtClean="0"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AU" sz="1100" b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U. </a:t>
                      </a:r>
                      <a:r>
                        <a:rPr lang="en-AU" sz="1100" b="1" i="1" baseline="0" dirty="0" err="1" smtClean="0">
                          <a:latin typeface="Calibri" panose="020F0502020204030204" pitchFamily="34" charset="0"/>
                        </a:rPr>
                        <a:t>urealyticum</a:t>
                      </a:r>
                      <a:r>
                        <a:rPr lang="en-AU" sz="1100" b="1" baseline="0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C. trachomatis</a:t>
                      </a:r>
                      <a:r>
                        <a:rPr lang="en-AU" sz="1100" b="1" baseline="0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N. gonorrhoeae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 </a:t>
                      </a:r>
                      <a:endParaRPr lang="en-AU" sz="1100" b="1" i="1" baseline="0" dirty="0" smtClean="0">
                        <a:latin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T. vaginalis</a:t>
                      </a:r>
                      <a:r>
                        <a:rPr lang="en-AU" sz="1100" b="1" baseline="0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S. pneumoniae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 M. pneumoniae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 M. </a:t>
                      </a:r>
                      <a:r>
                        <a:rPr lang="en-AU" sz="1100" b="1" i="1" baseline="0" dirty="0" err="1" smtClean="0">
                          <a:latin typeface="Calibri" panose="020F0502020204030204" pitchFamily="34" charset="0"/>
                        </a:rPr>
                        <a:t>gallisepticum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E. coli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E. </a:t>
                      </a:r>
                      <a:r>
                        <a:rPr lang="en-AU" sz="1100" b="1" i="1" baseline="0" dirty="0" err="1" smtClean="0">
                          <a:latin typeface="Calibri" panose="020F0502020204030204" pitchFamily="34" charset="0"/>
                        </a:rPr>
                        <a:t>faecalis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 P. aeruginosa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 K. pneumoniae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,</a:t>
                      </a:r>
                      <a:r>
                        <a:rPr lang="en-AU" sz="1100" b="1" i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AU" sz="1100" b="1" i="0" baseline="0" dirty="0" smtClean="0">
                          <a:latin typeface="Calibri" panose="020F0502020204030204" pitchFamily="34" charset="0"/>
                        </a:rPr>
                        <a:t>HSV-1, HSV-2</a:t>
                      </a:r>
                      <a:endParaRPr lang="en-AU" sz="1200" b="1" i="0" dirty="0">
                        <a:latin typeface="Calibri" panose="020F0502020204030204" pitchFamily="34" charset="0"/>
                      </a:endParaRPr>
                    </a:p>
                  </a:txBody>
                  <a:tcPr marL="91438" marR="91438" marT="34284" marB="34284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36916" name="Slide Number Placeholder 3"/>
          <p:cNvSpPr txBox="1">
            <a:spLocks/>
          </p:cNvSpPr>
          <p:nvPr/>
        </p:nvSpPr>
        <p:spPr bwMode="auto">
          <a:xfrm>
            <a:off x="8747125" y="4870450"/>
            <a:ext cx="3968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D988288-AD92-4890-B054-4BDCF53F1C96}" type="slidenum">
              <a:rPr lang="en-US" sz="1200" smtClean="0">
                <a:solidFill>
                  <a:srgbClr val="FFFFFF"/>
                </a:solidFill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200" smtClean="0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581312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Title 3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anchor="t"/>
          <a:lstStyle/>
          <a:p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Prospective study: </a:t>
            </a:r>
            <a:r>
              <a:rPr lang="en-AU" i="1" smtClean="0">
                <a:solidFill>
                  <a:schemeClr val="accent1"/>
                </a:solidFill>
                <a:ea typeface="Open Sans"/>
                <a:cs typeface="Open Sans"/>
              </a:rPr>
              <a:t>Resistance</a:t>
            </a:r>
            <a:r>
              <a:rPr lang="en-AU" i="1" smtClean="0">
                <a:solidFill>
                  <a:srgbClr val="003D46"/>
                </a:solidFill>
                <a:ea typeface="Open Sans"/>
                <a:cs typeface="Open Sans"/>
              </a:rPr>
              <a:t>Plus</a:t>
            </a:r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™ MG</a:t>
            </a:r>
            <a:b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</a:br>
            <a:r>
              <a:rPr lang="en-AU" sz="2400" smtClean="0">
                <a:solidFill>
                  <a:srgbClr val="003D46"/>
                </a:solidFill>
                <a:ea typeface="Open Sans"/>
                <a:cs typeface="Open Sans"/>
              </a:rPr>
              <a:t>Sample cohort</a:t>
            </a:r>
            <a:endParaRPr lang="en-AU" sz="2400" smtClean="0">
              <a:ea typeface="Open Sans"/>
              <a:cs typeface="Open Sans"/>
            </a:endParaRPr>
          </a:p>
        </p:txBody>
      </p:sp>
      <p:sp>
        <p:nvSpPr>
          <p:cNvPr id="389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30188" y="1309688"/>
            <a:ext cx="8662987" cy="3278187"/>
          </a:xfrm>
        </p:spPr>
        <p:txBody>
          <a:bodyPr/>
          <a:lstStyle/>
          <a:p>
            <a:r>
              <a:rPr lang="en-AU" smtClean="0">
                <a:ea typeface="Open Sans"/>
                <a:cs typeface="Open Sans"/>
              </a:rPr>
              <a:t>1089 samples received Nov 2015-Dec 2015 at RWH (Melbourne, Australia)</a:t>
            </a:r>
          </a:p>
          <a:p>
            <a:pPr lvl="1"/>
            <a:r>
              <a:rPr lang="en-AU" smtClean="0">
                <a:ea typeface="Open Sans"/>
                <a:cs typeface="Open Sans"/>
              </a:rPr>
              <a:t>Royal Women’s Hospital, Melbourne Sexual Health Centre, and external sites</a:t>
            </a:r>
          </a:p>
          <a:p>
            <a:pPr lvl="1"/>
            <a:r>
              <a:rPr lang="en-AU" smtClean="0">
                <a:ea typeface="Open Sans"/>
                <a:cs typeface="Open Sans"/>
              </a:rPr>
              <a:t>Symptomatic and asymptomatic males and females</a:t>
            </a:r>
          </a:p>
          <a:p>
            <a:endParaRPr lang="en-AU" smtClean="0">
              <a:ea typeface="Open Sans"/>
              <a:cs typeface="Open Sans"/>
            </a:endParaRPr>
          </a:p>
          <a:p>
            <a:endParaRPr lang="en-AU" smtClean="0">
              <a:ea typeface="Open Sans"/>
              <a:cs typeface="Open Sans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857250" y="2859088"/>
          <a:ext cx="7629527" cy="1692274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1043591"/>
                <a:gridCol w="1646484"/>
                <a:gridCol w="1646484"/>
                <a:gridCol w="1646484"/>
                <a:gridCol w="1646484"/>
              </a:tblGrid>
              <a:tr h="579337">
                <a:tc>
                  <a:txBody>
                    <a:bodyPr/>
                    <a:lstStyle/>
                    <a:p>
                      <a:endParaRPr lang="en-AU" sz="1800" dirty="0">
                        <a:latin typeface="Calibri" panose="020F0502020204030204" pitchFamily="34" charset="0"/>
                      </a:endParaRPr>
                    </a:p>
                  </a:txBody>
                  <a:tcPr marT="45737" marB="457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dirty="0" smtClean="0">
                          <a:latin typeface="Calibri" panose="020F0502020204030204" pitchFamily="34" charset="0"/>
                        </a:rPr>
                        <a:t>Urine/</a:t>
                      </a:r>
                    </a:p>
                    <a:p>
                      <a:pPr algn="ctr"/>
                      <a:r>
                        <a:rPr lang="en-AU" sz="1600" dirty="0" smtClean="0">
                          <a:latin typeface="Calibri" panose="020F0502020204030204" pitchFamily="34" charset="0"/>
                        </a:rPr>
                        <a:t>urethral swab</a:t>
                      </a:r>
                    </a:p>
                  </a:txBody>
                  <a:tcPr marT="45737" marB="4573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>
                          <a:latin typeface="Calibri" panose="020F0502020204030204" pitchFamily="34" charset="0"/>
                        </a:rPr>
                        <a:t>Anal swab</a:t>
                      </a:r>
                    </a:p>
                  </a:txBody>
                  <a:tcPr marT="45737" marB="4573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dirty="0" smtClean="0">
                          <a:latin typeface="Calibri" panose="020F0502020204030204" pitchFamily="34" charset="0"/>
                        </a:rPr>
                        <a:t>Cervical/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dirty="0" smtClean="0">
                          <a:latin typeface="Calibri" panose="020F0502020204030204" pitchFamily="34" charset="0"/>
                        </a:rPr>
                        <a:t>vaginal swab</a:t>
                      </a:r>
                      <a:endParaRPr lang="en-AU" sz="1600" dirty="0">
                        <a:latin typeface="Calibri" panose="020F0502020204030204" pitchFamily="34" charset="0"/>
                      </a:endParaRPr>
                    </a:p>
                  </a:txBody>
                  <a:tcPr marT="45737" marB="4573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600" dirty="0" smtClean="0">
                          <a:latin typeface="Calibri" panose="020F0502020204030204" pitchFamily="34" charset="0"/>
                        </a:rPr>
                        <a:t>Sample numbers</a:t>
                      </a:r>
                    </a:p>
                  </a:txBody>
                  <a:tcPr marT="45737" marB="4573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97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AU" sz="18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le</a:t>
                      </a:r>
                      <a:endParaRPr lang="en-AU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T="45737" marB="4573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354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34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n/a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388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7097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AU" sz="18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emale</a:t>
                      </a:r>
                      <a:endParaRPr lang="en-AU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T="45737" marB="4573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203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2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496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701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97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AU" sz="18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tal</a:t>
                      </a:r>
                      <a:endParaRPr lang="en-AU" sz="18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T="45737" marB="4573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557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36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496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1089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T="34303" marB="34303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633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AU" sz="3100" dirty="0">
                <a:solidFill>
                  <a:srgbClr val="003D46"/>
                </a:solidFill>
                <a:cs typeface="Open Sans"/>
              </a:rPr>
              <a:t>Prospective study: </a:t>
            </a:r>
            <a:r>
              <a:rPr lang="en-AU" sz="3100" i="1" dirty="0" err="1">
                <a:solidFill>
                  <a:schemeClr val="accent1"/>
                </a:solidFill>
                <a:cs typeface="Open Sans"/>
              </a:rPr>
              <a:t>Resistance</a:t>
            </a:r>
            <a:r>
              <a:rPr lang="en-AU" sz="3100" i="1" dirty="0" err="1">
                <a:solidFill>
                  <a:srgbClr val="003D46"/>
                </a:solidFill>
                <a:cs typeface="Open Sans"/>
              </a:rPr>
              <a:t>Plus</a:t>
            </a:r>
            <a:r>
              <a:rPr lang="en-AU" sz="3100" dirty="0">
                <a:solidFill>
                  <a:srgbClr val="003D46"/>
                </a:solidFill>
                <a:cs typeface="Open Sans"/>
              </a:rPr>
              <a:t>™ MG</a:t>
            </a:r>
            <a:br>
              <a:rPr lang="en-AU" sz="3100" dirty="0">
                <a:solidFill>
                  <a:srgbClr val="003D46"/>
                </a:solidFill>
                <a:cs typeface="Open Sans"/>
              </a:rPr>
            </a:br>
            <a:r>
              <a:rPr lang="en-AU" sz="2700" dirty="0" smtClean="0">
                <a:solidFill>
                  <a:srgbClr val="003D46"/>
                </a:solidFill>
                <a:cs typeface="Open Sans"/>
              </a:rPr>
              <a:t>Clinical results</a:t>
            </a:r>
            <a:endParaRPr lang="en-AU" sz="2700" dirty="0">
              <a:solidFill>
                <a:srgbClr val="003D46"/>
              </a:solidFill>
              <a:cs typeface="Open Sans"/>
            </a:endParaRPr>
          </a:p>
        </p:txBody>
      </p:sp>
      <p:sp>
        <p:nvSpPr>
          <p:cNvPr id="40962" name="Rectangle 7"/>
          <p:cNvSpPr>
            <a:spLocks noChangeArrowheads="1"/>
          </p:cNvSpPr>
          <p:nvPr/>
        </p:nvSpPr>
        <p:spPr bwMode="auto">
          <a:xfrm>
            <a:off x="2578100" y="1131888"/>
            <a:ext cx="44465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AU" sz="2400" b="1" smtClean="0">
                <a:solidFill>
                  <a:srgbClr val="003D46"/>
                </a:solidFill>
                <a:ea typeface="Open Sans"/>
                <a:cs typeface="Open Sans"/>
              </a:rPr>
              <a:t>MG detection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5018088" y="1743075"/>
          <a:ext cx="3441701" cy="1435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293"/>
                <a:gridCol w="1007749"/>
                <a:gridCol w="1367659"/>
              </a:tblGrid>
              <a:tr h="3132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endParaRPr lang="en-AU" sz="1400" dirty="0"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600" dirty="0" smtClean="0"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600" dirty="0">
                          <a:effectLst/>
                          <a:latin typeface="Calibri" panose="020F0502020204030204" pitchFamily="34" charset="0"/>
                        </a:rPr>
                        <a:t>95% CI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</a:rPr>
                        <a:t>Sensitivity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8.5</a:t>
                      </a:r>
                      <a:endParaRPr lang="en-AU" sz="1400" b="1" kern="1200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1.7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9.9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</a:rPr>
                        <a:t>Specificity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  <a:endParaRPr lang="en-AU" sz="1400" b="1" kern="1200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9.6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 smtClean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  <a:ea typeface="Calibri"/>
                          <a:cs typeface="Times New Roman"/>
                        </a:rPr>
                        <a:t>PPV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4.4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 smtClean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  <a:ea typeface="Calibri"/>
                          <a:cs typeface="Times New Roman"/>
                        </a:rPr>
                        <a:t>NPV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9.9</a:t>
                      </a: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9.5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sp>
        <p:nvSpPr>
          <p:cNvPr id="40985" name="Slide Number Placeholder 3"/>
          <p:cNvSpPr txBox="1">
            <a:spLocks/>
          </p:cNvSpPr>
          <p:nvPr/>
        </p:nvSpPr>
        <p:spPr bwMode="auto">
          <a:xfrm>
            <a:off x="8747125" y="4870450"/>
            <a:ext cx="3968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77903EB-A173-46CE-9383-CED5902298CF}" type="slidenum">
              <a:rPr lang="en-US" sz="1200" smtClean="0">
                <a:solidFill>
                  <a:srgbClr val="FFFFFF"/>
                </a:solidFill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200" smtClean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4098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55650" y="3508375"/>
            <a:ext cx="8137525" cy="1223963"/>
          </a:xfrm>
        </p:spPr>
        <p:txBody>
          <a:bodyPr/>
          <a:lstStyle/>
          <a:p>
            <a:r>
              <a:rPr lang="en-AU" b="1" smtClean="0">
                <a:ea typeface="Open Sans"/>
                <a:cs typeface="Open Sans"/>
              </a:rPr>
              <a:t>MG prevalence</a:t>
            </a:r>
          </a:p>
          <a:p>
            <a:pPr lvl="1"/>
            <a:r>
              <a:rPr lang="en-AU" smtClean="0">
                <a:ea typeface="Open Sans"/>
                <a:cs typeface="Open Sans"/>
              </a:rPr>
              <a:t>Overall 6.0%, Male 10.8%, Female 3.3% </a:t>
            </a:r>
          </a:p>
          <a:p>
            <a:endParaRPr lang="en-AU" smtClean="0">
              <a:ea typeface="Open Sans"/>
              <a:cs typeface="Open Sans"/>
            </a:endParaRPr>
          </a:p>
        </p:txBody>
      </p:sp>
      <p:graphicFrame>
        <p:nvGraphicFramePr>
          <p:cNvPr id="12" name="Content Placeholder 4"/>
          <p:cNvGraphicFramePr>
            <a:graphicFrameLocks/>
          </p:cNvGraphicFramePr>
          <p:nvPr/>
        </p:nvGraphicFramePr>
        <p:xfrm>
          <a:off x="624991" y="1742606"/>
          <a:ext cx="4248472" cy="1443990"/>
        </p:xfrm>
        <a:graphic>
          <a:graphicData uri="http://schemas.openxmlformats.org/drawingml/2006/table">
            <a:tbl>
              <a:tblPr firstRow="1" bandRow="1"/>
              <a:tblGrid>
                <a:gridCol w="466160"/>
                <a:gridCol w="945578"/>
                <a:gridCol w="945578"/>
                <a:gridCol w="945578"/>
                <a:gridCol w="945578"/>
              </a:tblGrid>
              <a:tr h="285750">
                <a:tc gridSpan="2">
                  <a:txBody>
                    <a:bodyPr/>
                    <a:lstStyle/>
                    <a:p>
                      <a:pPr algn="ctr"/>
                      <a:endParaRPr lang="en-A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b="1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 house qPCR (16S </a:t>
                      </a:r>
                      <a:r>
                        <a:rPr lang="en-AU" sz="1600" b="1" dirty="0" err="1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RNA</a:t>
                      </a:r>
                      <a:r>
                        <a:rPr lang="en-AU" sz="1600" b="1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)</a:t>
                      </a:r>
                      <a:endParaRPr lang="en-AU" sz="1400" b="1" dirty="0" smtClean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AU" sz="1200" b="1" kern="1200" dirty="0" smtClean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4A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200" b="1" kern="1200" dirty="0" smtClean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4A"/>
                    </a:solidFill>
                  </a:tcPr>
                </a:tc>
              </a:tr>
              <a:tr h="285750">
                <a:tc gridSpan="2">
                  <a:txBody>
                    <a:bodyPr/>
                    <a:lstStyle/>
                    <a:p>
                      <a:pPr algn="ctr"/>
                      <a:endParaRPr lang="en-A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+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tal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800">
                <a:tc rowSpan="3">
                  <a:txBody>
                    <a:bodyPr/>
                    <a:lstStyle/>
                    <a:p>
                      <a:pPr algn="ctr"/>
                      <a:r>
                        <a:rPr lang="en-AU" sz="1600" b="1" dirty="0" smtClean="0">
                          <a:solidFill>
                            <a:schemeClr val="bg1"/>
                          </a:solidFill>
                        </a:rPr>
                        <a:t>SpeeDx</a:t>
                      </a:r>
                      <a:endParaRPr lang="en-AU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 vert="vert27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+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4</a:t>
                      </a:r>
                      <a:endParaRPr lang="en-AU" sz="1400" b="1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0</a:t>
                      </a:r>
                      <a:endParaRPr lang="en-AU" sz="1400" b="1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4</a:t>
                      </a: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  <a:tr h="280800">
                <a:tc vMerge="1">
                  <a:txBody>
                    <a:bodyPr/>
                    <a:lstStyle/>
                    <a:p>
                      <a:pPr algn="ctr"/>
                      <a:endParaRPr lang="en-AU" sz="2400" dirty="0"/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24</a:t>
                      </a:r>
                      <a:endParaRPr lang="en-AU" sz="1400" b="1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25</a:t>
                      </a: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  <a:tr h="280800">
                <a:tc vMerge="1">
                  <a:txBody>
                    <a:bodyPr/>
                    <a:lstStyle/>
                    <a:p>
                      <a:pPr algn="ctr"/>
                      <a:endParaRPr lang="en-AU" sz="2400" dirty="0"/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tal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5</a:t>
                      </a:r>
                      <a:endParaRPr lang="en-AU" sz="1400" b="1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24</a:t>
                      </a:r>
                      <a:endParaRPr lang="en-AU" sz="1400" b="1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89</a:t>
                      </a:r>
                      <a:endParaRPr lang="en-AU" sz="1400" b="1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58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AU" sz="3100" dirty="0" smtClean="0">
                <a:solidFill>
                  <a:srgbClr val="003D46"/>
                </a:solidFill>
                <a:cs typeface="Open Sans"/>
              </a:rPr>
              <a:t>Prospective study: </a:t>
            </a:r>
            <a:r>
              <a:rPr lang="en-AU" sz="3100" i="1" dirty="0" err="1" smtClean="0">
                <a:solidFill>
                  <a:schemeClr val="accent1"/>
                </a:solidFill>
                <a:cs typeface="Open Sans"/>
              </a:rPr>
              <a:t>Resistance</a:t>
            </a:r>
            <a:r>
              <a:rPr lang="en-AU" sz="3100" i="1" dirty="0" err="1" smtClean="0">
                <a:solidFill>
                  <a:srgbClr val="003D46"/>
                </a:solidFill>
                <a:cs typeface="Open Sans"/>
              </a:rPr>
              <a:t>Plus</a:t>
            </a:r>
            <a:r>
              <a:rPr lang="en-AU" sz="3100" dirty="0" smtClean="0">
                <a:solidFill>
                  <a:srgbClr val="003D46"/>
                </a:solidFill>
                <a:cs typeface="Open Sans"/>
              </a:rPr>
              <a:t>™ MG</a:t>
            </a:r>
            <a:br>
              <a:rPr lang="en-AU" sz="3100" dirty="0" smtClean="0">
                <a:solidFill>
                  <a:srgbClr val="003D46"/>
                </a:solidFill>
                <a:cs typeface="Open Sans"/>
              </a:rPr>
            </a:br>
            <a:r>
              <a:rPr lang="en-AU" sz="2700" dirty="0" smtClean="0">
                <a:solidFill>
                  <a:srgbClr val="003D46"/>
                </a:solidFill>
                <a:cs typeface="Open Sans"/>
              </a:rPr>
              <a:t>Clinical results</a:t>
            </a:r>
            <a:endParaRPr lang="en-AU" sz="2700" dirty="0">
              <a:solidFill>
                <a:srgbClr val="003D46"/>
              </a:solidFill>
              <a:cs typeface="Open Sans"/>
            </a:endParaRPr>
          </a:p>
        </p:txBody>
      </p:sp>
      <p:sp>
        <p:nvSpPr>
          <p:cNvPr id="41986" name="Rectangle 7"/>
          <p:cNvSpPr>
            <a:spLocks noChangeArrowheads="1"/>
          </p:cNvSpPr>
          <p:nvPr/>
        </p:nvSpPr>
        <p:spPr bwMode="auto">
          <a:xfrm>
            <a:off x="2578100" y="1131888"/>
            <a:ext cx="44465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AU" sz="2400" b="1" smtClean="0">
                <a:solidFill>
                  <a:srgbClr val="003D46"/>
                </a:solidFill>
                <a:ea typeface="Open Sans"/>
                <a:cs typeface="Open Sans"/>
              </a:rPr>
              <a:t>23S rRNA mutant detection</a:t>
            </a:r>
          </a:p>
        </p:txBody>
      </p:sp>
      <p:sp>
        <p:nvSpPr>
          <p:cNvPr id="41987" name="Slide Number Placeholder 3"/>
          <p:cNvSpPr txBox="1">
            <a:spLocks/>
          </p:cNvSpPr>
          <p:nvPr/>
        </p:nvSpPr>
        <p:spPr bwMode="auto">
          <a:xfrm>
            <a:off x="8747125" y="4870450"/>
            <a:ext cx="3968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6A75999-690B-49B8-A76B-A6C65A9BEF05}" type="slidenum">
              <a:rPr lang="en-US" sz="1200" smtClean="0">
                <a:solidFill>
                  <a:srgbClr val="FFFFFF"/>
                </a:solidFill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1200" smtClean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41988" name="Text Placeholder 4"/>
          <p:cNvSpPr txBox="1">
            <a:spLocks/>
          </p:cNvSpPr>
          <p:nvPr/>
        </p:nvSpPr>
        <p:spPr bwMode="auto">
          <a:xfrm>
            <a:off x="755650" y="3508375"/>
            <a:ext cx="8137525" cy="122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20000"/>
              </a:spcBef>
              <a:spcAft>
                <a:spcPct val="0"/>
              </a:spcAft>
              <a:buFontTx/>
              <a:buBlip>
                <a:blip r:embed="rId2"/>
              </a:buBlip>
            </a:pPr>
            <a:r>
              <a:rPr lang="en-AU" sz="2000" b="1" smtClean="0">
                <a:solidFill>
                  <a:srgbClr val="003D46"/>
                </a:solidFill>
                <a:ea typeface="Open Sans"/>
                <a:cs typeface="Open Sans"/>
              </a:rPr>
              <a:t>MG 23S rRNA mutant prevalence</a:t>
            </a:r>
          </a:p>
          <a:p>
            <a:pPr lvl="1" defTabSz="45720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Overall 63.1%, Male 81.0%, Female 30.4% </a:t>
            </a:r>
          </a:p>
          <a:p>
            <a:pPr defTabSz="457200" fontAlgn="base">
              <a:spcBef>
                <a:spcPct val="20000"/>
              </a:spcBef>
              <a:spcAft>
                <a:spcPct val="0"/>
              </a:spcAft>
              <a:buFontTx/>
              <a:buBlip>
                <a:blip r:embed="rId2"/>
              </a:buBlip>
            </a:pPr>
            <a:endParaRPr lang="en-AU" sz="2000" smtClean="0">
              <a:solidFill>
                <a:srgbClr val="003D46"/>
              </a:solidFill>
              <a:ea typeface="Open Sans"/>
              <a:cs typeface="Open Sans"/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25400" y="4371975"/>
            <a:ext cx="953135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57200" fontAlgn="base">
              <a:lnSpc>
                <a:spcPts val="2900"/>
              </a:lnSpc>
              <a:spcBef>
                <a:spcPts val="600"/>
              </a:spcBef>
              <a:spcAft>
                <a:spcPct val="0"/>
              </a:spcAft>
            </a:pPr>
            <a:r>
              <a:rPr lang="en-AU" sz="2000" b="1" smtClean="0">
                <a:solidFill>
                  <a:srgbClr val="FF0000"/>
                </a:solidFill>
                <a:cs typeface="Arial" pitchFamily="34" charset="0"/>
              </a:rPr>
              <a:t>Highly multiplexed test with excellent clinical sensitivity and specificity</a:t>
            </a:r>
          </a:p>
        </p:txBody>
      </p:sp>
      <p:sp>
        <p:nvSpPr>
          <p:cNvPr id="41990" name="TextBox 2"/>
          <p:cNvSpPr txBox="1">
            <a:spLocks noChangeArrowheads="1"/>
          </p:cNvSpPr>
          <p:nvPr/>
        </p:nvSpPr>
        <p:spPr bwMode="auto">
          <a:xfrm>
            <a:off x="569913" y="3162300"/>
            <a:ext cx="35702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AU" sz="1200" smtClean="0">
                <a:solidFill>
                  <a:srgbClr val="003D46"/>
                </a:solidFill>
              </a:rPr>
              <a:t>* Only includes MG positive samples by both methods</a:t>
            </a:r>
          </a:p>
        </p:txBody>
      </p:sp>
      <p:graphicFrame>
        <p:nvGraphicFramePr>
          <p:cNvPr id="11" name="Content Placeholder 4"/>
          <p:cNvGraphicFramePr>
            <a:graphicFrameLocks/>
          </p:cNvGraphicFramePr>
          <p:nvPr/>
        </p:nvGraphicFramePr>
        <p:xfrm>
          <a:off x="624991" y="1742606"/>
          <a:ext cx="4248472" cy="1443990"/>
        </p:xfrm>
        <a:graphic>
          <a:graphicData uri="http://schemas.openxmlformats.org/drawingml/2006/table">
            <a:tbl>
              <a:tblPr firstRow="1" bandRow="1"/>
              <a:tblGrid>
                <a:gridCol w="466160"/>
                <a:gridCol w="945578"/>
                <a:gridCol w="945578"/>
                <a:gridCol w="945578"/>
                <a:gridCol w="945578"/>
              </a:tblGrid>
              <a:tr h="285750">
                <a:tc gridSpan="2">
                  <a:txBody>
                    <a:bodyPr/>
                    <a:lstStyle/>
                    <a:p>
                      <a:pPr algn="ctr"/>
                      <a:endParaRPr lang="en-A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b="1" dirty="0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anger Sequencing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AU" sz="1200" b="1" kern="1200" dirty="0" smtClean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4A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200" b="1" kern="1200" dirty="0" smtClean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94A"/>
                    </a:solidFill>
                  </a:tcPr>
                </a:tc>
              </a:tr>
              <a:tr h="285750">
                <a:tc gridSpan="2">
                  <a:txBody>
                    <a:bodyPr/>
                    <a:lstStyle/>
                    <a:p>
                      <a:pPr algn="ctr"/>
                      <a:endParaRPr lang="en-AU" sz="14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utant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Wild type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tal</a:t>
                      </a:r>
                    </a:p>
                  </a:txBody>
                  <a:tcPr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800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600" b="1" kern="1200" dirty="0" err="1" smtClean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peeDx</a:t>
                      </a:r>
                      <a:endParaRPr lang="en-AU" sz="1600" b="1" kern="12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vert="vert27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utant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8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9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  <a:tr h="280800">
                <a:tc vMerge="1">
                  <a:txBody>
                    <a:bodyPr/>
                    <a:lstStyle/>
                    <a:p>
                      <a:pPr algn="ctr"/>
                      <a:endParaRPr lang="en-AU" sz="2400" dirty="0"/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Wild type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0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</a:t>
                      </a: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  <a:tr h="280800">
                <a:tc vMerge="1">
                  <a:txBody>
                    <a:bodyPr/>
                    <a:lstStyle/>
                    <a:p>
                      <a:pPr algn="ctr"/>
                      <a:endParaRPr lang="en-AU" sz="2400" dirty="0"/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kern="1200" dirty="0" smtClean="0">
                          <a:solidFill>
                            <a:srgbClr val="003D46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tal</a:t>
                      </a:r>
                      <a:endParaRPr lang="en-AU" sz="1400" b="1" kern="1200" dirty="0">
                        <a:solidFill>
                          <a:srgbClr val="003D46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8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6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4*</a:t>
                      </a:r>
                      <a:endParaRPr lang="en-AU" sz="1400" b="1" dirty="0"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T="34290" marB="3429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5018088" y="1743075"/>
          <a:ext cx="3441701" cy="1435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6293"/>
                <a:gridCol w="1007749"/>
                <a:gridCol w="1367659"/>
              </a:tblGrid>
              <a:tr h="3132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endParaRPr lang="en-AU" sz="1400" dirty="0"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600" dirty="0" smtClean="0"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600" dirty="0">
                          <a:effectLst/>
                          <a:latin typeface="Calibri" panose="020F0502020204030204" pitchFamily="34" charset="0"/>
                        </a:rPr>
                        <a:t>95% CI</a:t>
                      </a:r>
                      <a:endParaRPr lang="en-AU" sz="1600" dirty="0"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</a:rPr>
                        <a:t>Sensitivity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  <a:endParaRPr lang="en-AU" sz="1400" b="1" kern="1200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0.8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</a:rPr>
                        <a:t>Specificity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6.2</a:t>
                      </a:r>
                      <a:endParaRPr lang="en-AU" sz="1400" b="1" kern="1200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0.4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9.9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 smtClean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  <a:ea typeface="Calibri"/>
                          <a:cs typeface="Times New Roman"/>
                        </a:rPr>
                        <a:t>PPV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7.4</a:t>
                      </a: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6.5 </a:t>
                      </a:r>
                      <a:r>
                        <a:rPr lang="en-AU" sz="14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o </a:t>
                      </a: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9.9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dirty="0" smtClean="0">
                          <a:solidFill>
                            <a:srgbClr val="003D46"/>
                          </a:solidFill>
                          <a:effectLst/>
                          <a:latin typeface="Calibri" panose="020F0502020204030204" pitchFamily="34" charset="0"/>
                          <a:ea typeface="Calibri"/>
                          <a:cs typeface="Times New Roman"/>
                        </a:rPr>
                        <a:t>NPV</a:t>
                      </a:r>
                      <a:endParaRPr lang="en-AU" sz="1400" dirty="0">
                        <a:solidFill>
                          <a:srgbClr val="003D46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Times New Roman"/>
                      </a:endParaRP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kern="120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.0</a:t>
                      </a:r>
                    </a:p>
                  </a:txBody>
                  <a:tcPr marL="68555" marR="68555" marT="0" marB="0" anchor="ctr">
                    <a:lnL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900"/>
                        </a:spcBef>
                        <a:spcAft>
                          <a:spcPts val="900"/>
                        </a:spcAft>
                      </a:pPr>
                      <a:r>
                        <a:rPr lang="en-AU" sz="1400" b="1" kern="1200" dirty="0" smtClean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6.3 to 100.0</a:t>
                      </a:r>
                      <a:endParaRPr lang="en-AU" sz="1400" b="1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68555" marR="6855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39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3762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Title 2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/>
          <a:lstStyle/>
          <a:p>
            <a:r>
              <a:rPr lang="en-AU" i="1" smtClean="0">
                <a:solidFill>
                  <a:schemeClr val="accent1"/>
                </a:solidFill>
                <a:ea typeface="Open Sans"/>
                <a:cs typeface="Open Sans"/>
              </a:rPr>
              <a:t>Resistance</a:t>
            </a:r>
            <a:r>
              <a:rPr lang="en-AU" i="1" smtClean="0">
                <a:solidFill>
                  <a:srgbClr val="003D46"/>
                </a:solidFill>
                <a:ea typeface="Open Sans"/>
                <a:cs typeface="Open Sans"/>
              </a:rPr>
              <a:t>Plus</a:t>
            </a:r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™ MG and future directions</a:t>
            </a:r>
            <a:b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</a:br>
            <a:endParaRPr lang="en-AU" smtClean="0">
              <a:ea typeface="Open Sans"/>
              <a:cs typeface="Open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0188" y="1165225"/>
            <a:ext cx="8734425" cy="3278188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AU" dirty="0" smtClean="0"/>
              <a:t>Potential to improve </a:t>
            </a:r>
            <a:r>
              <a:rPr lang="en-AU" dirty="0"/>
              <a:t>patient </a:t>
            </a:r>
            <a:r>
              <a:rPr lang="en-AU" dirty="0" smtClean="0"/>
              <a:t>management and improve </a:t>
            </a:r>
            <a:r>
              <a:rPr lang="en-AU" dirty="0"/>
              <a:t>clinical outcomes</a:t>
            </a:r>
          </a:p>
          <a:p>
            <a:pPr fontAlgn="auto">
              <a:spcAft>
                <a:spcPts val="0"/>
              </a:spcAft>
              <a:defRPr/>
            </a:pPr>
            <a:r>
              <a:rPr lang="en-AU" dirty="0" smtClean="0"/>
              <a:t>Evaluation </a:t>
            </a:r>
            <a:r>
              <a:rPr lang="en-AU" dirty="0"/>
              <a:t>with PHE Sexually Transmitted Bacterial Reference Laboratory</a:t>
            </a:r>
          </a:p>
          <a:p>
            <a:pPr fontAlgn="auto">
              <a:spcAft>
                <a:spcPts val="0"/>
              </a:spcAft>
              <a:defRPr/>
            </a:pPr>
            <a:endParaRPr lang="en-AU" dirty="0" smtClean="0"/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endParaRPr lang="en-AU" dirty="0" smtClean="0"/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endParaRPr lang="en-AU" dirty="0" smtClean="0"/>
          </a:p>
          <a:p>
            <a:pPr fontAlgn="auto">
              <a:spcAft>
                <a:spcPts val="0"/>
              </a:spcAft>
              <a:defRPr/>
            </a:pPr>
            <a:r>
              <a:rPr lang="en-AU" dirty="0" smtClean="0"/>
              <a:t>Other </a:t>
            </a:r>
            <a:r>
              <a:rPr lang="en-AU" i="1" dirty="0" err="1" smtClean="0">
                <a:solidFill>
                  <a:schemeClr val="accent1"/>
                </a:solidFill>
                <a:cs typeface="Open Sans"/>
              </a:rPr>
              <a:t>Resistance</a:t>
            </a:r>
            <a:r>
              <a:rPr lang="en-AU" i="1" dirty="0" err="1" smtClean="0">
                <a:solidFill>
                  <a:srgbClr val="003D46"/>
                </a:solidFill>
                <a:cs typeface="Open Sans"/>
              </a:rPr>
              <a:t>Plus</a:t>
            </a:r>
            <a:r>
              <a:rPr lang="en-AU" dirty="0" smtClean="0">
                <a:solidFill>
                  <a:srgbClr val="003D46"/>
                </a:solidFill>
                <a:cs typeface="Open Sans"/>
              </a:rPr>
              <a:t>™ assays in development</a:t>
            </a:r>
          </a:p>
          <a:p>
            <a:pPr lvl="1" fontAlgn="auto">
              <a:spcAft>
                <a:spcPts val="0"/>
              </a:spcAft>
              <a:defRPr/>
            </a:pPr>
            <a:r>
              <a:rPr lang="en-AU" dirty="0" smtClean="0">
                <a:solidFill>
                  <a:srgbClr val="003D46"/>
                </a:solidFill>
              </a:rPr>
              <a:t>MG fluoroquinolone resistance</a:t>
            </a:r>
          </a:p>
          <a:p>
            <a:pPr lvl="1" fontAlgn="auto">
              <a:spcAft>
                <a:spcPts val="0"/>
              </a:spcAft>
              <a:defRPr/>
            </a:pPr>
            <a:r>
              <a:rPr lang="en-AU" dirty="0" smtClean="0">
                <a:solidFill>
                  <a:srgbClr val="003D46"/>
                </a:solidFill>
              </a:rPr>
              <a:t>Gonorrhoea macrolide resistance</a:t>
            </a:r>
          </a:p>
          <a:p>
            <a:pPr lvl="1" fontAlgn="auto">
              <a:spcAft>
                <a:spcPts val="0"/>
              </a:spcAft>
              <a:defRPr/>
            </a:pPr>
            <a:endParaRPr lang="en-AU" dirty="0" smtClean="0"/>
          </a:p>
          <a:p>
            <a:pPr fontAlgn="auto"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3011" name="Rectangle 4"/>
          <p:cNvSpPr>
            <a:spLocks noChangeArrowheads="1"/>
          </p:cNvSpPr>
          <p:nvPr/>
        </p:nvSpPr>
        <p:spPr bwMode="auto">
          <a:xfrm>
            <a:off x="-107950" y="4371975"/>
            <a:ext cx="92995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57200" fontAlgn="base">
              <a:lnSpc>
                <a:spcPts val="2900"/>
              </a:lnSpc>
              <a:spcBef>
                <a:spcPts val="600"/>
              </a:spcBef>
              <a:spcAft>
                <a:spcPct val="0"/>
              </a:spcAft>
            </a:pPr>
            <a:r>
              <a:rPr lang="en-AU" sz="2000" b="1" smtClean="0">
                <a:solidFill>
                  <a:srgbClr val="FF0000"/>
                </a:solidFill>
                <a:cs typeface="Arial" pitchFamily="34" charset="0"/>
              </a:rPr>
              <a:t>Please come and talk to us about MG and other tests!</a:t>
            </a:r>
          </a:p>
        </p:txBody>
      </p:sp>
      <p:sp>
        <p:nvSpPr>
          <p:cNvPr id="43012" name="Rectangle 5"/>
          <p:cNvSpPr>
            <a:spLocks noChangeArrowheads="1"/>
          </p:cNvSpPr>
          <p:nvPr/>
        </p:nvSpPr>
        <p:spPr bwMode="auto">
          <a:xfrm>
            <a:off x="-263525" y="2060575"/>
            <a:ext cx="92995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457200" fontAlgn="base">
              <a:lnSpc>
                <a:spcPts val="2900"/>
              </a:lnSpc>
              <a:spcBef>
                <a:spcPts val="600"/>
              </a:spcBef>
              <a:spcAft>
                <a:spcPct val="0"/>
              </a:spcAft>
            </a:pPr>
            <a:r>
              <a:rPr lang="en-AU" sz="2000" b="1" smtClean="0">
                <a:solidFill>
                  <a:srgbClr val="FF0000"/>
                </a:solidFill>
                <a:cs typeface="Arial" pitchFamily="34" charset="0"/>
              </a:rPr>
              <a:t>CE marking in July</a:t>
            </a:r>
          </a:p>
        </p:txBody>
      </p:sp>
    </p:spTree>
    <p:extLst>
      <p:ext uri="{BB962C8B-B14F-4D97-AF65-F5344CB8AC3E}">
        <p14:creationId xmlns:p14="http://schemas.microsoft.com/office/powerpoint/2010/main" val="115323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le 1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anchor="t"/>
          <a:lstStyle/>
          <a:p>
            <a:r>
              <a:rPr lang="en-AU" smtClean="0">
                <a:ea typeface="Open Sans"/>
                <a:cs typeface="Open Sans"/>
              </a:rPr>
              <a:t>Investigators</a:t>
            </a:r>
          </a:p>
        </p:txBody>
      </p:sp>
      <p:sp>
        <p:nvSpPr>
          <p:cNvPr id="2765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915988"/>
            <a:ext cx="4114800" cy="3406775"/>
          </a:xfrm>
        </p:spPr>
        <p:txBody>
          <a:bodyPr/>
          <a:lstStyle/>
          <a:p>
            <a:pPr marL="0" indent="0">
              <a:buFontTx/>
              <a:buNone/>
            </a:pPr>
            <a:r>
              <a:rPr lang="en-AU" b="1" smtClean="0">
                <a:ea typeface="Open Sans"/>
                <a:cs typeface="Open Sans"/>
              </a:rPr>
              <a:t>Royal Women’s Hospital (RWH), Melbourne, Australia</a:t>
            </a:r>
          </a:p>
          <a:p>
            <a:pPr marL="446088" lvl="1"/>
            <a:r>
              <a:rPr lang="en-AU" altLang="en-US" smtClean="0">
                <a:ea typeface="Open Sans"/>
                <a:cs typeface="Open Sans"/>
              </a:rPr>
              <a:t>Sepehr Tabrizi</a:t>
            </a:r>
          </a:p>
          <a:p>
            <a:pPr marL="446088" lvl="1"/>
            <a:r>
              <a:rPr lang="en-AU" altLang="en-US" smtClean="0">
                <a:ea typeface="Open Sans"/>
                <a:cs typeface="Open Sans"/>
              </a:rPr>
              <a:t>Jimmy Twin</a:t>
            </a:r>
          </a:p>
          <a:p>
            <a:pPr marL="446088" lvl="1"/>
            <a:r>
              <a:rPr lang="en-AU" altLang="en-US" smtClean="0">
                <a:ea typeface="Open Sans"/>
                <a:cs typeface="Open Sans"/>
              </a:rPr>
              <a:t>Jenny Su</a:t>
            </a:r>
          </a:p>
          <a:p>
            <a:pPr marL="446088" lvl="1"/>
            <a:r>
              <a:rPr lang="en-AU" altLang="en-US" smtClean="0">
                <a:ea typeface="Open Sans"/>
                <a:cs typeface="Open Sans"/>
              </a:rPr>
              <a:t>Marin Poljak</a:t>
            </a:r>
          </a:p>
          <a:p>
            <a:pPr marL="446088" lvl="1"/>
            <a:r>
              <a:rPr lang="en-AU" altLang="en-US" smtClean="0">
                <a:ea typeface="Open Sans"/>
                <a:cs typeface="Open Sans"/>
              </a:rPr>
              <a:t>Suzanne Garland</a:t>
            </a:r>
            <a:endParaRPr lang="en-AU" smtClean="0">
              <a:ea typeface="Open Sans"/>
              <a:cs typeface="Open Sans"/>
            </a:endParaRPr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4427538" y="915988"/>
            <a:ext cx="4572000" cy="34067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Open Sans" pitchFamily="34" charset="0"/>
                <a:cs typeface="Open Sans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Open Sans" pitchFamily="34" charset="0"/>
                <a:cs typeface="Open Sans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Calibri" panose="020F0502020204030204" pitchFamily="34" charset="0"/>
                <a:ea typeface="Open Sans" pitchFamily="34" charset="0"/>
                <a:cs typeface="Open Sans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Open Sans" pitchFamily="34" charset="0"/>
                <a:cs typeface="Open Sans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Open Sans" pitchFamily="34" charset="0"/>
                <a:cs typeface="Open Sans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en-AU" sz="2000" b="1" dirty="0" smtClean="0">
                <a:solidFill>
                  <a:srgbClr val="003D46"/>
                </a:solidFill>
              </a:rPr>
              <a:t>Melbourne Sexual Health Centre (MSHC), Australia</a:t>
            </a:r>
          </a:p>
          <a:p>
            <a:pPr marL="446088" lvl="1">
              <a:defRPr/>
            </a:pPr>
            <a:r>
              <a:rPr lang="en-AU" sz="1800" dirty="0" smtClean="0">
                <a:solidFill>
                  <a:srgbClr val="003D46"/>
                </a:solidFill>
              </a:rPr>
              <a:t>Catriona Bradshaw</a:t>
            </a:r>
          </a:p>
          <a:p>
            <a:pPr marL="446088" lvl="1">
              <a:defRPr/>
            </a:pPr>
            <a:r>
              <a:rPr lang="en-AU" sz="1800" dirty="0" smtClean="0">
                <a:solidFill>
                  <a:srgbClr val="003D46"/>
                </a:solidFill>
              </a:rPr>
              <a:t>Christopher Fairley</a:t>
            </a:r>
          </a:p>
          <a:p>
            <a:pPr>
              <a:defRPr/>
            </a:pPr>
            <a:endParaRPr lang="en-AU" sz="2000" dirty="0" smtClean="0">
              <a:solidFill>
                <a:srgbClr val="003D46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en-AU" sz="2000" b="1" dirty="0" err="1" smtClean="0">
                <a:solidFill>
                  <a:srgbClr val="003D46"/>
                </a:solidFill>
              </a:rPr>
              <a:t>SpeeDx</a:t>
            </a:r>
            <a:endParaRPr lang="en-AU" sz="2000" b="1" dirty="0" smtClean="0">
              <a:solidFill>
                <a:srgbClr val="003D46"/>
              </a:solidFill>
            </a:endParaRPr>
          </a:p>
          <a:p>
            <a:pPr marL="446088" lvl="1">
              <a:tabLst>
                <a:tab pos="180975" algn="l"/>
              </a:tabLst>
              <a:defRPr/>
            </a:pPr>
            <a:r>
              <a:rPr lang="en-AU" altLang="en-US" sz="1800" dirty="0" smtClean="0">
                <a:solidFill>
                  <a:srgbClr val="003D46"/>
                </a:solidFill>
              </a:rPr>
              <a:t>Samantha Walker</a:t>
            </a:r>
          </a:p>
          <a:p>
            <a:pPr marL="446088" lvl="1">
              <a:tabLst>
                <a:tab pos="180975" algn="l"/>
              </a:tabLst>
              <a:defRPr/>
            </a:pPr>
            <a:r>
              <a:rPr lang="en-AU" altLang="en-US" sz="1800" dirty="0" smtClean="0">
                <a:solidFill>
                  <a:srgbClr val="003D46"/>
                </a:solidFill>
              </a:rPr>
              <a:t>Elisa </a:t>
            </a:r>
            <a:r>
              <a:rPr lang="en-AU" altLang="en-US" sz="1800" dirty="0" err="1" smtClean="0">
                <a:solidFill>
                  <a:srgbClr val="003D46"/>
                </a:solidFill>
              </a:rPr>
              <a:t>Mokany</a:t>
            </a:r>
            <a:endParaRPr lang="en-AU" altLang="en-US" sz="1800" dirty="0">
              <a:solidFill>
                <a:srgbClr val="003D46"/>
              </a:solidFill>
            </a:endParaRPr>
          </a:p>
        </p:txBody>
      </p:sp>
      <p:sp>
        <p:nvSpPr>
          <p:cNvPr id="27652" name="Text Placeholder 2"/>
          <p:cNvSpPr txBox="1">
            <a:spLocks/>
          </p:cNvSpPr>
          <p:nvPr/>
        </p:nvSpPr>
        <p:spPr bwMode="auto">
          <a:xfrm>
            <a:off x="561975" y="4156075"/>
            <a:ext cx="8562975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20000"/>
              </a:spcBef>
              <a:spcAft>
                <a:spcPct val="0"/>
              </a:spcAft>
            </a:pPr>
            <a:r>
              <a:rPr lang="en-AU" sz="2000" b="1" smtClean="0">
                <a:solidFill>
                  <a:srgbClr val="003D46"/>
                </a:solidFill>
                <a:ea typeface="Open Sans"/>
                <a:cs typeface="Open Sans"/>
              </a:rPr>
              <a:t>Disclosure</a:t>
            </a:r>
          </a:p>
          <a:p>
            <a:pPr defTabSz="457200" fontAlgn="base">
              <a:spcBef>
                <a:spcPct val="20000"/>
              </a:spcBef>
              <a:spcAft>
                <a:spcPct val="0"/>
              </a:spcAft>
            </a:pPr>
            <a:r>
              <a:rPr lang="en-AU" sz="1600" smtClean="0">
                <a:solidFill>
                  <a:srgbClr val="003D46"/>
                </a:solidFill>
                <a:ea typeface="Open Sans"/>
                <a:cs typeface="Open Sans"/>
              </a:rPr>
              <a:t>SpeeDx is the developer and manufacturer of the </a:t>
            </a:r>
            <a:r>
              <a:rPr lang="en-AU" sz="1600" i="1" smtClean="0">
                <a:solidFill>
                  <a:srgbClr val="003D46"/>
                </a:solidFill>
                <a:ea typeface="Open Sans"/>
                <a:cs typeface="Open Sans"/>
              </a:rPr>
              <a:t>ResistancePlus</a:t>
            </a:r>
            <a:r>
              <a:rPr lang="en-AU" sz="1600" smtClean="0">
                <a:solidFill>
                  <a:srgbClr val="003D46"/>
                </a:solidFill>
                <a:ea typeface="Open Sans"/>
                <a:cs typeface="Open Sans"/>
              </a:rPr>
              <a:t>™ assay evaluated in this study</a:t>
            </a:r>
          </a:p>
        </p:txBody>
      </p:sp>
      <p:sp>
        <p:nvSpPr>
          <p:cNvPr id="27653" name="Slide Number Placeholder 3"/>
          <p:cNvSpPr txBox="1">
            <a:spLocks/>
          </p:cNvSpPr>
          <p:nvPr/>
        </p:nvSpPr>
        <p:spPr bwMode="auto">
          <a:xfrm>
            <a:off x="8818563" y="4870450"/>
            <a:ext cx="325437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A9F67F3E-E61A-4EFD-815B-4F14B376C1AE}" type="slidenum">
              <a:rPr lang="en-US" sz="1200" smtClean="0">
                <a:solidFill>
                  <a:srgbClr val="FFFFFF"/>
                </a:solidFill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smtClean="0">
              <a:solidFill>
                <a:srgbClr val="FFFFFF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27419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2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anchor="t"/>
          <a:lstStyle/>
          <a:p>
            <a:r>
              <a:rPr lang="en-AU" i="1" smtClean="0">
                <a:ea typeface="Open Sans"/>
                <a:cs typeface="Open Sans"/>
              </a:rPr>
              <a:t>Mycoplasma genitalium </a:t>
            </a:r>
            <a:r>
              <a:rPr lang="en-AU" smtClean="0">
                <a:ea typeface="Open Sans"/>
                <a:cs typeface="Open Sans"/>
              </a:rPr>
              <a:t>(MG) clinical associ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5288" y="1165225"/>
            <a:ext cx="8569325" cy="3494088"/>
          </a:xfrm>
        </p:spPr>
        <p:txBody>
          <a:bodyPr rtlCol="0">
            <a:normAutofit/>
          </a:bodyPr>
          <a:lstStyle/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 smtClean="0"/>
              <a:t>General population</a:t>
            </a:r>
          </a:p>
          <a:p>
            <a:pPr marL="539750" lvl="2" indent="-342900" fontAlgn="auto"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/>
              <a:t>Detected in 1-3.3%</a:t>
            </a:r>
          </a:p>
          <a:p>
            <a:pPr marL="539750" lvl="2" indent="-342900" fontAlgn="auto">
              <a:spcAft>
                <a:spcPts val="90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Exact burden of disease is unknown</a:t>
            </a:r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 smtClean="0"/>
              <a:t>Men</a:t>
            </a:r>
          </a:p>
          <a:p>
            <a:pPr marL="539750" lvl="2" indent="-342900" fontAlgn="auto"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Strongly associated with non-gonococcal urethritis (NGU) (6-50%)</a:t>
            </a:r>
          </a:p>
          <a:p>
            <a:pPr marL="539750" lvl="2" indent="-342900" fontAlgn="auto">
              <a:spcAft>
                <a:spcPts val="90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Other conditions: </a:t>
            </a:r>
            <a:r>
              <a:rPr lang="en-AU" dirty="0" err="1" smtClean="0"/>
              <a:t>Proctitis</a:t>
            </a:r>
            <a:r>
              <a:rPr lang="en-AU" dirty="0" smtClean="0"/>
              <a:t>, Balanitis, Chronic prostatitis, Acute epididymitis</a:t>
            </a:r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 smtClean="0"/>
              <a:t>Women</a:t>
            </a:r>
          </a:p>
          <a:p>
            <a:pPr marL="539750" lvl="2" indent="-342900" fontAlgn="auto"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Strongly associated with cervicitis (5-20%)</a:t>
            </a:r>
          </a:p>
          <a:p>
            <a:pPr marL="539750" lvl="2" indent="-342900" fontAlgn="auto">
              <a:spcAft>
                <a:spcPts val="90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Other conditions: Endometritis, Pelvic inflammatory disease, Preterm birth</a:t>
            </a:r>
          </a:p>
          <a:p>
            <a:pPr fontAlgn="auto">
              <a:spcAft>
                <a:spcPts val="900"/>
              </a:spcAft>
              <a:defRPr/>
            </a:pP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80364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le 2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anchor="t"/>
          <a:lstStyle/>
          <a:p>
            <a:r>
              <a:rPr lang="en-AU" smtClean="0">
                <a:ea typeface="Open Sans"/>
                <a:cs typeface="Open Sans"/>
              </a:rPr>
              <a:t>Challenges of current clinical practi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5288" y="1165225"/>
            <a:ext cx="8569325" cy="3494088"/>
          </a:xfrm>
        </p:spPr>
        <p:txBody>
          <a:bodyPr rtlCol="0">
            <a:normAutofit/>
          </a:bodyPr>
          <a:lstStyle/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/>
              <a:t>Empiric treatment of NGU &amp; cervicitis</a:t>
            </a:r>
            <a:endParaRPr lang="en-AU" b="1" dirty="0" smtClean="0"/>
          </a:p>
          <a:p>
            <a:pPr marL="540000" lvl="1" indent="-342000" fontAlgn="auto">
              <a:spcBef>
                <a:spcPts val="480"/>
              </a:spcBef>
              <a:spcAft>
                <a:spcPts val="0"/>
              </a:spcAft>
              <a:buFont typeface="Arial" pitchFamily="34" charset="0"/>
              <a:buBlip>
                <a:blip r:embed="rId2"/>
              </a:buBlip>
              <a:defRPr/>
            </a:pPr>
            <a:r>
              <a:rPr lang="en-AU" b="1" dirty="0"/>
              <a:t>Doxycycline:</a:t>
            </a:r>
            <a:r>
              <a:rPr lang="en-AU" dirty="0"/>
              <a:t> poor efficacy, microbiological cure rate of MG is 30-40% </a:t>
            </a:r>
          </a:p>
          <a:p>
            <a:pPr marL="540000" lvl="2" indent="-342000" fontAlgn="auto">
              <a:spcAft>
                <a:spcPts val="90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b="1" dirty="0"/>
              <a:t>Azithromycin:</a:t>
            </a:r>
            <a:r>
              <a:rPr lang="en-AU" dirty="0"/>
              <a:t> higher efficacy, 1 g single dose has 85% cure rate</a:t>
            </a:r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 smtClean="0"/>
              <a:t>Decreasing overall cure rates with azithromycin due to resistance</a:t>
            </a:r>
            <a:endParaRPr lang="en-AU" b="1" dirty="0"/>
          </a:p>
          <a:p>
            <a:pPr marL="539750" lvl="2" indent="-342900" fontAlgn="auto">
              <a:spcAft>
                <a:spcPts val="90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Where 1 g azithromycin is used to treat NGU, macrolide resistance is ~30-40%</a:t>
            </a:r>
            <a:endParaRPr lang="en-AU" dirty="0"/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/>
              <a:t>Resistance is associated with mutations in 23S </a:t>
            </a:r>
            <a:r>
              <a:rPr lang="en-AU" b="1" dirty="0" err="1"/>
              <a:t>rRNA</a:t>
            </a:r>
            <a:r>
              <a:rPr lang="en-AU" b="1" dirty="0"/>
              <a:t> gene</a:t>
            </a:r>
          </a:p>
          <a:p>
            <a:pPr marL="540000" lvl="2" indent="-342000" fontAlgn="auto">
              <a:spcBef>
                <a:spcPts val="600"/>
              </a:spcBef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/>
              <a:t>A2058G, A2059G, </a:t>
            </a:r>
            <a:r>
              <a:rPr lang="en-AU" dirty="0" smtClean="0"/>
              <a:t>A2058T, A2058C</a:t>
            </a:r>
            <a:r>
              <a:rPr lang="en-AU" dirty="0"/>
              <a:t>, </a:t>
            </a:r>
            <a:r>
              <a:rPr lang="en-AU" dirty="0" smtClean="0"/>
              <a:t>A2059C </a:t>
            </a:r>
            <a:r>
              <a:rPr lang="en-AU" dirty="0"/>
              <a:t>(</a:t>
            </a:r>
            <a:r>
              <a:rPr lang="en-AU" i="1" dirty="0"/>
              <a:t>E. coli</a:t>
            </a:r>
            <a:r>
              <a:rPr lang="en-AU" dirty="0"/>
              <a:t> numbering)</a:t>
            </a:r>
          </a:p>
          <a:p>
            <a:pPr marL="540000" lvl="2" indent="-342000" fontAlgn="auto">
              <a:spcBef>
                <a:spcPts val="600"/>
              </a:spcBef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/>
              <a:t>Mutations prevent azithromycin binding and inhibiting translation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96387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2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anchor="t"/>
          <a:lstStyle/>
          <a:p>
            <a:r>
              <a:rPr lang="en-AU" smtClean="0">
                <a:ea typeface="Open Sans"/>
                <a:cs typeface="Open Sans"/>
              </a:rPr>
              <a:t>Current limitations of MG test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5288" y="1165225"/>
            <a:ext cx="8785225" cy="3494088"/>
          </a:xfrm>
        </p:spPr>
        <p:txBody>
          <a:bodyPr rtlCol="0">
            <a:normAutofit/>
          </a:bodyPr>
          <a:lstStyle/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 smtClean="0"/>
              <a:t>MG detection</a:t>
            </a:r>
          </a:p>
          <a:p>
            <a:pPr marL="540000" lvl="2" indent="-342000" fontAlgn="auto">
              <a:spcAft>
                <a:spcPts val="90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In </a:t>
            </a:r>
            <a:r>
              <a:rPr lang="en-AU" dirty="0"/>
              <a:t>house qPCR tests and recent commercially available </a:t>
            </a:r>
            <a:r>
              <a:rPr lang="en-AU" dirty="0" smtClean="0"/>
              <a:t>CE marked tests</a:t>
            </a:r>
            <a:endParaRPr lang="en-AU" dirty="0"/>
          </a:p>
          <a:p>
            <a:pPr marL="0" indent="0" fontAlgn="auto">
              <a:spcAft>
                <a:spcPts val="0"/>
              </a:spcAft>
              <a:buFontTx/>
              <a:buNone/>
              <a:defRPr/>
            </a:pPr>
            <a:r>
              <a:rPr lang="en-AU" b="1" dirty="0" smtClean="0"/>
              <a:t>Macrolide resistance detection (23S </a:t>
            </a:r>
            <a:r>
              <a:rPr lang="en-AU" b="1" dirty="0" err="1" smtClean="0"/>
              <a:t>rRNA</a:t>
            </a:r>
            <a:r>
              <a:rPr lang="en-AU" b="1" dirty="0" smtClean="0"/>
              <a:t> mutation)</a:t>
            </a:r>
          </a:p>
          <a:p>
            <a:pPr marL="539750" lvl="2" indent="-342900" fontAlgn="auto"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Strongly recommended by 2016 </a:t>
            </a:r>
            <a:r>
              <a:rPr lang="en-AU" dirty="0"/>
              <a:t>European guidelines on MG </a:t>
            </a:r>
            <a:r>
              <a:rPr lang="en-AU" dirty="0" smtClean="0"/>
              <a:t>infections</a:t>
            </a:r>
            <a:endParaRPr lang="en-AU" dirty="0"/>
          </a:p>
          <a:p>
            <a:pPr marL="539750" lvl="2" indent="-342900" fontAlgn="auto">
              <a:spcAft>
                <a:spcPts val="0"/>
              </a:spcAft>
              <a:buFont typeface="Calibri" pitchFamily="34" charset="0"/>
              <a:buBlip>
                <a:blip r:embed="rId2"/>
              </a:buBlip>
              <a:defRPr/>
            </a:pPr>
            <a:r>
              <a:rPr lang="en-AU" dirty="0" smtClean="0"/>
              <a:t>Methods for mutation detection</a:t>
            </a:r>
          </a:p>
          <a:p>
            <a:pPr marL="996950" lvl="3" indent="-342900" fontAlgn="auto">
              <a:spcAft>
                <a:spcPts val="0"/>
              </a:spcAft>
              <a:buFont typeface="Courier New" pitchFamily="49" charset="0"/>
              <a:buBlip>
                <a:blip r:embed="rId2"/>
              </a:buBlip>
              <a:defRPr/>
            </a:pPr>
            <a:r>
              <a:rPr lang="en-AU" dirty="0" smtClean="0"/>
              <a:t>Sequencing – Costly </a:t>
            </a:r>
            <a:r>
              <a:rPr lang="en-AU" dirty="0"/>
              <a:t>and generally not convenient for routine </a:t>
            </a:r>
            <a:r>
              <a:rPr lang="en-AU" dirty="0" smtClean="0"/>
              <a:t>diagnostics</a:t>
            </a:r>
          </a:p>
          <a:p>
            <a:pPr marL="996950" lvl="3" indent="-342900" fontAlgn="auto">
              <a:spcAft>
                <a:spcPts val="0"/>
              </a:spcAft>
              <a:buFont typeface="Courier New" pitchFamily="49" charset="0"/>
              <a:buBlip>
                <a:blip r:embed="rId2"/>
              </a:buBlip>
              <a:defRPr/>
            </a:pPr>
            <a:r>
              <a:rPr lang="en-AU" dirty="0"/>
              <a:t>High resolution melt analysis </a:t>
            </a:r>
            <a:r>
              <a:rPr lang="en-AU" dirty="0" smtClean="0"/>
              <a:t>(HRMA) – </a:t>
            </a:r>
            <a:r>
              <a:rPr lang="en-AU" dirty="0"/>
              <a:t>Separate assay to MG detection, not easy to analyse</a:t>
            </a:r>
          </a:p>
          <a:p>
            <a:pPr marL="996950" lvl="3" indent="-342900" fontAlgn="auto">
              <a:spcAft>
                <a:spcPts val="0"/>
              </a:spcAft>
              <a:buFont typeface="Courier New" pitchFamily="49" charset="0"/>
              <a:buBlip>
                <a:blip r:embed="rId2"/>
              </a:buBlip>
              <a:defRPr/>
            </a:pPr>
            <a:r>
              <a:rPr lang="en-AU" dirty="0" smtClean="0"/>
              <a:t>Fluorescence </a:t>
            </a:r>
            <a:r>
              <a:rPr lang="en-AU" dirty="0"/>
              <a:t>resonance energy </a:t>
            </a:r>
            <a:r>
              <a:rPr lang="en-AU" dirty="0" smtClean="0"/>
              <a:t>transfer (FRET) – Lacking in sensitivity</a:t>
            </a:r>
          </a:p>
        </p:txBody>
      </p:sp>
    </p:spTree>
    <p:extLst>
      <p:ext uri="{BB962C8B-B14F-4D97-AF65-F5344CB8AC3E}">
        <p14:creationId xmlns:p14="http://schemas.microsoft.com/office/powerpoint/2010/main" val="67821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TextBox 2"/>
          <p:cNvSpPr txBox="1">
            <a:spLocks noChangeArrowheads="1"/>
          </p:cNvSpPr>
          <p:nvPr/>
        </p:nvSpPr>
        <p:spPr bwMode="auto">
          <a:xfrm>
            <a:off x="242888" y="1708150"/>
            <a:ext cx="86439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AU" sz="3200" b="1" i="1" smtClean="0">
                <a:solidFill>
                  <a:srgbClr val="EC1C29"/>
                </a:solidFill>
                <a:latin typeface="Open Sans"/>
                <a:ea typeface="Open Sans"/>
                <a:cs typeface="Open Sans"/>
              </a:rPr>
              <a:t>Resistance</a:t>
            </a:r>
            <a:r>
              <a:rPr lang="en-AU" sz="3200" b="1" i="1" smtClean="0">
                <a:solidFill>
                  <a:srgbClr val="003D46"/>
                </a:solidFill>
                <a:latin typeface="Open Sans"/>
                <a:ea typeface="Open Sans"/>
                <a:cs typeface="Open Sans"/>
              </a:rPr>
              <a:t>Plus™</a:t>
            </a:r>
            <a:r>
              <a:rPr lang="en-AU" sz="3200" b="1" smtClean="0">
                <a:solidFill>
                  <a:srgbClr val="003D46"/>
                </a:solidFill>
                <a:latin typeface="Open Sans"/>
                <a:ea typeface="Open Sans"/>
                <a:cs typeface="Open Sans"/>
              </a:rPr>
              <a:t> MG</a:t>
            </a:r>
          </a:p>
        </p:txBody>
      </p:sp>
      <p:sp>
        <p:nvSpPr>
          <p:cNvPr id="31746" name="TextBox 3"/>
          <p:cNvSpPr txBox="1">
            <a:spLocks noChangeArrowheads="1"/>
          </p:cNvSpPr>
          <p:nvPr/>
        </p:nvSpPr>
        <p:spPr bwMode="auto">
          <a:xfrm>
            <a:off x="306388" y="2300288"/>
            <a:ext cx="8516937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AU" sz="2400" b="1" i="1" smtClean="0">
                <a:solidFill>
                  <a:srgbClr val="003D46"/>
                </a:solidFill>
              </a:rPr>
              <a:t>Combined detection of MG and mutations associated with macrolide resistance in a multiplex qPCR test</a:t>
            </a:r>
          </a:p>
        </p:txBody>
      </p:sp>
    </p:spTree>
    <p:extLst>
      <p:ext uri="{BB962C8B-B14F-4D97-AF65-F5344CB8AC3E}">
        <p14:creationId xmlns:p14="http://schemas.microsoft.com/office/powerpoint/2010/main" val="772345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Title 2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anchor="t"/>
          <a:lstStyle/>
          <a:p>
            <a:r>
              <a:rPr lang="en-AU" i="1" smtClean="0">
                <a:solidFill>
                  <a:srgbClr val="FF0000"/>
                </a:solidFill>
                <a:ea typeface="Open Sans"/>
                <a:cs typeface="Open Sans"/>
              </a:rPr>
              <a:t>Plex</a:t>
            </a:r>
            <a:r>
              <a:rPr lang="en-AU" i="1" smtClean="0">
                <a:solidFill>
                  <a:srgbClr val="003D46"/>
                </a:solidFill>
                <a:ea typeface="Open Sans"/>
                <a:cs typeface="Open Sans"/>
              </a:rPr>
              <a:t>Zyme</a:t>
            </a:r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™ detection technology </a:t>
            </a:r>
            <a:endParaRPr lang="en-AU" smtClean="0">
              <a:ea typeface="Open Sans"/>
              <a:cs typeface="Open Sans"/>
            </a:endParaRPr>
          </a:p>
        </p:txBody>
      </p:sp>
      <p:grpSp>
        <p:nvGrpSpPr>
          <p:cNvPr id="271" name="Group 270"/>
          <p:cNvGrpSpPr/>
          <p:nvPr/>
        </p:nvGrpSpPr>
        <p:grpSpPr>
          <a:xfrm flipV="1">
            <a:off x="3008547" y="3947001"/>
            <a:ext cx="1392195" cy="105703"/>
            <a:chOff x="1701452" y="4737292"/>
            <a:chExt cx="1392195" cy="140937"/>
          </a:xfrm>
          <a:solidFill>
            <a:sysClr val="window" lastClr="FFFFFF">
              <a:lumMod val="65000"/>
            </a:sysClr>
          </a:solidFill>
        </p:grpSpPr>
        <p:sp>
          <p:nvSpPr>
            <p:cNvPr id="272" name="Round Same Side Corner Rectangle 271"/>
            <p:cNvSpPr/>
            <p:nvPr/>
          </p:nvSpPr>
          <p:spPr>
            <a:xfrm rot="10800000">
              <a:off x="17014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3" name="Round Same Side Corner Rectangle 272"/>
            <p:cNvSpPr/>
            <p:nvPr/>
          </p:nvSpPr>
          <p:spPr>
            <a:xfrm rot="10800000">
              <a:off x="18350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4" name="Round Same Side Corner Rectangle 273"/>
            <p:cNvSpPr/>
            <p:nvPr/>
          </p:nvSpPr>
          <p:spPr>
            <a:xfrm rot="10800000">
              <a:off x="19687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5" name="Round Same Side Corner Rectangle 274"/>
            <p:cNvSpPr/>
            <p:nvPr/>
          </p:nvSpPr>
          <p:spPr>
            <a:xfrm rot="10800000">
              <a:off x="21023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6" name="Round Same Side Corner Rectangle 275"/>
            <p:cNvSpPr/>
            <p:nvPr/>
          </p:nvSpPr>
          <p:spPr>
            <a:xfrm rot="10800000">
              <a:off x="22360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7" name="Round Same Side Corner Rectangle 276"/>
            <p:cNvSpPr/>
            <p:nvPr/>
          </p:nvSpPr>
          <p:spPr>
            <a:xfrm rot="10800000">
              <a:off x="23696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8" name="Round Same Side Corner Rectangle 277"/>
            <p:cNvSpPr/>
            <p:nvPr/>
          </p:nvSpPr>
          <p:spPr>
            <a:xfrm rot="10800000">
              <a:off x="25032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79" name="Round Same Side Corner Rectangle 278"/>
            <p:cNvSpPr/>
            <p:nvPr/>
          </p:nvSpPr>
          <p:spPr>
            <a:xfrm rot="10800000">
              <a:off x="26369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0" name="Round Same Side Corner Rectangle 279"/>
            <p:cNvSpPr/>
            <p:nvPr/>
          </p:nvSpPr>
          <p:spPr>
            <a:xfrm rot="10800000">
              <a:off x="27705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1" name="Round Same Side Corner Rectangle 280"/>
            <p:cNvSpPr/>
            <p:nvPr/>
          </p:nvSpPr>
          <p:spPr>
            <a:xfrm rot="10800000">
              <a:off x="29042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2" name="Round Same Side Corner Rectangle 281"/>
            <p:cNvSpPr/>
            <p:nvPr/>
          </p:nvSpPr>
          <p:spPr>
            <a:xfrm rot="10800000">
              <a:off x="30378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grpSp>
        <p:nvGrpSpPr>
          <p:cNvPr id="283" name="Group 282"/>
          <p:cNvGrpSpPr/>
          <p:nvPr/>
        </p:nvGrpSpPr>
        <p:grpSpPr>
          <a:xfrm flipV="1">
            <a:off x="4577553" y="3947001"/>
            <a:ext cx="1392195" cy="105703"/>
            <a:chOff x="1701452" y="4737292"/>
            <a:chExt cx="1392195" cy="140937"/>
          </a:xfrm>
          <a:solidFill>
            <a:sysClr val="window" lastClr="FFFFFF">
              <a:lumMod val="65000"/>
            </a:sysClr>
          </a:solidFill>
        </p:grpSpPr>
        <p:sp>
          <p:nvSpPr>
            <p:cNvPr id="284" name="Round Same Side Corner Rectangle 283"/>
            <p:cNvSpPr/>
            <p:nvPr/>
          </p:nvSpPr>
          <p:spPr>
            <a:xfrm rot="10800000">
              <a:off x="17014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5" name="Round Same Side Corner Rectangle 284"/>
            <p:cNvSpPr/>
            <p:nvPr/>
          </p:nvSpPr>
          <p:spPr>
            <a:xfrm rot="10800000">
              <a:off x="18350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6" name="Round Same Side Corner Rectangle 285"/>
            <p:cNvSpPr/>
            <p:nvPr/>
          </p:nvSpPr>
          <p:spPr>
            <a:xfrm rot="10800000">
              <a:off x="19687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7" name="Round Same Side Corner Rectangle 286"/>
            <p:cNvSpPr/>
            <p:nvPr/>
          </p:nvSpPr>
          <p:spPr>
            <a:xfrm rot="10800000">
              <a:off x="21023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8" name="Round Same Side Corner Rectangle 287"/>
            <p:cNvSpPr/>
            <p:nvPr/>
          </p:nvSpPr>
          <p:spPr>
            <a:xfrm rot="10800000">
              <a:off x="22360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89" name="Round Same Side Corner Rectangle 288"/>
            <p:cNvSpPr/>
            <p:nvPr/>
          </p:nvSpPr>
          <p:spPr>
            <a:xfrm rot="10800000">
              <a:off x="23696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0" name="Round Same Side Corner Rectangle 289"/>
            <p:cNvSpPr/>
            <p:nvPr/>
          </p:nvSpPr>
          <p:spPr>
            <a:xfrm rot="10800000">
              <a:off x="25032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1" name="Round Same Side Corner Rectangle 290"/>
            <p:cNvSpPr/>
            <p:nvPr/>
          </p:nvSpPr>
          <p:spPr>
            <a:xfrm rot="10800000">
              <a:off x="26369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2" name="Round Same Side Corner Rectangle 291"/>
            <p:cNvSpPr/>
            <p:nvPr/>
          </p:nvSpPr>
          <p:spPr>
            <a:xfrm rot="10800000">
              <a:off x="27705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3" name="Round Same Side Corner Rectangle 292"/>
            <p:cNvSpPr/>
            <p:nvPr/>
          </p:nvSpPr>
          <p:spPr>
            <a:xfrm rot="10800000">
              <a:off x="29042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4" name="Round Same Side Corner Rectangle 293"/>
            <p:cNvSpPr/>
            <p:nvPr/>
          </p:nvSpPr>
          <p:spPr>
            <a:xfrm rot="10800000">
              <a:off x="30378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grpSp>
        <p:nvGrpSpPr>
          <p:cNvPr id="295" name="Group 294"/>
          <p:cNvGrpSpPr>
            <a:grpSpLocks/>
          </p:cNvGrpSpPr>
          <p:nvPr/>
        </p:nvGrpSpPr>
        <p:grpSpPr bwMode="auto">
          <a:xfrm>
            <a:off x="6848475" y="3557588"/>
            <a:ext cx="1392238" cy="106362"/>
            <a:chOff x="1701452" y="4737292"/>
            <a:chExt cx="1392195" cy="140937"/>
          </a:xfrm>
        </p:grpSpPr>
        <p:sp>
          <p:nvSpPr>
            <p:cNvPr id="296" name="Round Same Side Corner Rectangle 295"/>
            <p:cNvSpPr/>
            <p:nvPr/>
          </p:nvSpPr>
          <p:spPr>
            <a:xfrm rot="10800000">
              <a:off x="17014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7" name="Round Same Side Corner Rectangle 296"/>
            <p:cNvSpPr/>
            <p:nvPr/>
          </p:nvSpPr>
          <p:spPr>
            <a:xfrm rot="10800000">
              <a:off x="18350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8" name="Round Same Side Corner Rectangle 297"/>
            <p:cNvSpPr/>
            <p:nvPr/>
          </p:nvSpPr>
          <p:spPr>
            <a:xfrm rot="10800000">
              <a:off x="19687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299" name="Round Same Side Corner Rectangle 298"/>
            <p:cNvSpPr/>
            <p:nvPr/>
          </p:nvSpPr>
          <p:spPr>
            <a:xfrm rot="10800000">
              <a:off x="21023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0" name="Round Same Side Corner Rectangle 299"/>
            <p:cNvSpPr/>
            <p:nvPr/>
          </p:nvSpPr>
          <p:spPr>
            <a:xfrm rot="10800000">
              <a:off x="22360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1" name="Round Same Side Corner Rectangle 300"/>
            <p:cNvSpPr/>
            <p:nvPr/>
          </p:nvSpPr>
          <p:spPr>
            <a:xfrm rot="10800000">
              <a:off x="23696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2" name="Round Same Side Corner Rectangle 301"/>
            <p:cNvSpPr/>
            <p:nvPr/>
          </p:nvSpPr>
          <p:spPr>
            <a:xfrm rot="10800000">
              <a:off x="25032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3" name="Round Same Side Corner Rectangle 302"/>
            <p:cNvSpPr/>
            <p:nvPr/>
          </p:nvSpPr>
          <p:spPr>
            <a:xfrm rot="10800000">
              <a:off x="26369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4" name="Round Same Side Corner Rectangle 303"/>
            <p:cNvSpPr/>
            <p:nvPr/>
          </p:nvSpPr>
          <p:spPr>
            <a:xfrm rot="10800000">
              <a:off x="27705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5" name="Round Same Side Corner Rectangle 304"/>
            <p:cNvSpPr/>
            <p:nvPr/>
          </p:nvSpPr>
          <p:spPr>
            <a:xfrm rot="10800000">
              <a:off x="29042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6" name="Round Same Side Corner Rectangle 305"/>
            <p:cNvSpPr/>
            <p:nvPr/>
          </p:nvSpPr>
          <p:spPr>
            <a:xfrm rot="10800000">
              <a:off x="30378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grpSp>
        <p:nvGrpSpPr>
          <p:cNvPr id="307" name="Group 306"/>
          <p:cNvGrpSpPr>
            <a:grpSpLocks/>
          </p:cNvGrpSpPr>
          <p:nvPr/>
        </p:nvGrpSpPr>
        <p:grpSpPr bwMode="auto">
          <a:xfrm>
            <a:off x="900113" y="3557588"/>
            <a:ext cx="1392237" cy="106362"/>
            <a:chOff x="1701452" y="4737292"/>
            <a:chExt cx="1392195" cy="140937"/>
          </a:xfrm>
        </p:grpSpPr>
        <p:sp>
          <p:nvSpPr>
            <p:cNvPr id="308" name="Round Same Side Corner Rectangle 307"/>
            <p:cNvSpPr/>
            <p:nvPr/>
          </p:nvSpPr>
          <p:spPr>
            <a:xfrm rot="10800000">
              <a:off x="17014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09" name="Round Same Side Corner Rectangle 308"/>
            <p:cNvSpPr/>
            <p:nvPr/>
          </p:nvSpPr>
          <p:spPr>
            <a:xfrm rot="10800000">
              <a:off x="18350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0" name="Round Same Side Corner Rectangle 309"/>
            <p:cNvSpPr/>
            <p:nvPr/>
          </p:nvSpPr>
          <p:spPr>
            <a:xfrm rot="10800000">
              <a:off x="19687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1" name="Round Same Side Corner Rectangle 310"/>
            <p:cNvSpPr/>
            <p:nvPr/>
          </p:nvSpPr>
          <p:spPr>
            <a:xfrm rot="10800000">
              <a:off x="21023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2" name="Round Same Side Corner Rectangle 311"/>
            <p:cNvSpPr/>
            <p:nvPr/>
          </p:nvSpPr>
          <p:spPr>
            <a:xfrm rot="10800000">
              <a:off x="22360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3" name="Round Same Side Corner Rectangle 312"/>
            <p:cNvSpPr/>
            <p:nvPr/>
          </p:nvSpPr>
          <p:spPr>
            <a:xfrm rot="10800000">
              <a:off x="23696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4" name="Round Same Side Corner Rectangle 313"/>
            <p:cNvSpPr/>
            <p:nvPr/>
          </p:nvSpPr>
          <p:spPr>
            <a:xfrm rot="10800000">
              <a:off x="250329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5" name="Round Same Side Corner Rectangle 314"/>
            <p:cNvSpPr/>
            <p:nvPr/>
          </p:nvSpPr>
          <p:spPr>
            <a:xfrm rot="10800000">
              <a:off x="263693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6" name="Round Same Side Corner Rectangle 315"/>
            <p:cNvSpPr/>
            <p:nvPr/>
          </p:nvSpPr>
          <p:spPr>
            <a:xfrm rot="10800000">
              <a:off x="277057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7" name="Round Same Side Corner Rectangle 316"/>
            <p:cNvSpPr/>
            <p:nvPr/>
          </p:nvSpPr>
          <p:spPr>
            <a:xfrm rot="10800000">
              <a:off x="290421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18" name="Round Same Side Corner Rectangle 317"/>
            <p:cNvSpPr/>
            <p:nvPr/>
          </p:nvSpPr>
          <p:spPr>
            <a:xfrm rot="10800000">
              <a:off x="3037852" y="4737292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EC1C29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sp>
        <p:nvSpPr>
          <p:cNvPr id="319" name="Freeform 318"/>
          <p:cNvSpPr/>
          <p:nvPr/>
        </p:nvSpPr>
        <p:spPr>
          <a:xfrm>
            <a:off x="843782" y="2549461"/>
            <a:ext cx="1485358" cy="1016384"/>
          </a:xfrm>
          <a:custGeom>
            <a:avLst/>
            <a:gdLst>
              <a:gd name="connsiteX0" fmla="*/ 314693 w 1485358"/>
              <a:gd name="connsiteY0" fmla="*/ 0 h 1355178"/>
              <a:gd name="connsiteX1" fmla="*/ 1485358 w 1485358"/>
              <a:gd name="connsiteY1" fmla="*/ 0 h 1355178"/>
              <a:gd name="connsiteX2" fmla="*/ 1485358 w 1485358"/>
              <a:gd name="connsiteY2" fmla="*/ 148003 h 1355178"/>
              <a:gd name="connsiteX3" fmla="*/ 1482785 w 1485358"/>
              <a:gd name="connsiteY3" fmla="*/ 148003 h 1355178"/>
              <a:gd name="connsiteX4" fmla="*/ 1482826 w 1485358"/>
              <a:gd name="connsiteY4" fmla="*/ 148190 h 1355178"/>
              <a:gd name="connsiteX5" fmla="*/ 1114735 w 1485358"/>
              <a:gd name="connsiteY5" fmla="*/ 387517 h 1355178"/>
              <a:gd name="connsiteX6" fmla="*/ 1121671 w 1485358"/>
              <a:gd name="connsiteY6" fmla="*/ 977274 h 1355178"/>
              <a:gd name="connsiteX7" fmla="*/ 1385175 w 1485358"/>
              <a:gd name="connsiteY7" fmla="*/ 1178920 h 1355178"/>
              <a:gd name="connsiteX8" fmla="*/ 1485047 w 1485358"/>
              <a:gd name="connsiteY8" fmla="*/ 1206111 h 1355178"/>
              <a:gd name="connsiteX9" fmla="*/ 1485047 w 1485358"/>
              <a:gd name="connsiteY9" fmla="*/ 1355178 h 1355178"/>
              <a:gd name="connsiteX10" fmla="*/ 24668 w 1485358"/>
              <a:gd name="connsiteY10" fmla="*/ 1355178 h 1355178"/>
              <a:gd name="connsiteX11" fmla="*/ 0 w 1485358"/>
              <a:gd name="connsiteY11" fmla="*/ 1330510 h 1355178"/>
              <a:gd name="connsiteX12" fmla="*/ 0 w 1485358"/>
              <a:gd name="connsiteY12" fmla="*/ 1231843 h 1355178"/>
              <a:gd name="connsiteX13" fmla="*/ 24668 w 1485358"/>
              <a:gd name="connsiteY13" fmla="*/ 1207175 h 1355178"/>
              <a:gd name="connsiteX14" fmla="*/ 1114041 w 1485358"/>
              <a:gd name="connsiteY14" fmla="*/ 1205406 h 1355178"/>
              <a:gd name="connsiteX15" fmla="*/ 1045467 w 1485358"/>
              <a:gd name="connsiteY15" fmla="*/ 1140045 h 1355178"/>
              <a:gd name="connsiteX16" fmla="*/ 984605 w 1485358"/>
              <a:gd name="connsiteY16" fmla="*/ 1063637 h 1355178"/>
              <a:gd name="connsiteX17" fmla="*/ 975836 w 1485358"/>
              <a:gd name="connsiteY17" fmla="*/ 304146 h 1355178"/>
              <a:gd name="connsiteX18" fmla="*/ 1103706 w 1485358"/>
              <a:gd name="connsiteY18" fmla="*/ 157970 h 1355178"/>
              <a:gd name="connsiteX19" fmla="*/ 1116840 w 1485358"/>
              <a:gd name="connsiteY19" fmla="*/ 148003 h 1355178"/>
              <a:gd name="connsiteX20" fmla="*/ 314693 w 1485358"/>
              <a:gd name="connsiteY20" fmla="*/ 148003 h 1355178"/>
              <a:gd name="connsiteX21" fmla="*/ 290025 w 1485358"/>
              <a:gd name="connsiteY21" fmla="*/ 123335 h 1355178"/>
              <a:gd name="connsiteX22" fmla="*/ 290025 w 1485358"/>
              <a:gd name="connsiteY22" fmla="*/ 24668 h 1355178"/>
              <a:gd name="connsiteX23" fmla="*/ 314693 w 1485358"/>
              <a:gd name="connsiteY23" fmla="*/ 0 h 1355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85358" h="1355178">
                <a:moveTo>
                  <a:pt x="314693" y="0"/>
                </a:moveTo>
                <a:lnTo>
                  <a:pt x="1485358" y="0"/>
                </a:lnTo>
                <a:lnTo>
                  <a:pt x="1485358" y="148003"/>
                </a:lnTo>
                <a:lnTo>
                  <a:pt x="1482785" y="148003"/>
                </a:lnTo>
                <a:cubicBezTo>
                  <a:pt x="1482799" y="148065"/>
                  <a:pt x="1482812" y="148128"/>
                  <a:pt x="1482826" y="148190"/>
                </a:cubicBezTo>
                <a:cubicBezTo>
                  <a:pt x="1332934" y="177172"/>
                  <a:pt x="1199145" y="262238"/>
                  <a:pt x="1114735" y="387517"/>
                </a:cubicBezTo>
                <a:cubicBezTo>
                  <a:pt x="993098" y="568051"/>
                  <a:pt x="995817" y="799334"/>
                  <a:pt x="1121671" y="977274"/>
                </a:cubicBezTo>
                <a:cubicBezTo>
                  <a:pt x="1187060" y="1069727"/>
                  <a:pt x="1279601" y="1139068"/>
                  <a:pt x="1385175" y="1178920"/>
                </a:cubicBezTo>
                <a:lnTo>
                  <a:pt x="1485047" y="1206111"/>
                </a:lnTo>
                <a:lnTo>
                  <a:pt x="1485047" y="1355178"/>
                </a:lnTo>
                <a:lnTo>
                  <a:pt x="24668" y="1355178"/>
                </a:lnTo>
                <a:cubicBezTo>
                  <a:pt x="11044" y="1355178"/>
                  <a:pt x="0" y="1344134"/>
                  <a:pt x="0" y="1330510"/>
                </a:cubicBezTo>
                <a:lnTo>
                  <a:pt x="0" y="1231843"/>
                </a:lnTo>
                <a:cubicBezTo>
                  <a:pt x="0" y="1218219"/>
                  <a:pt x="11044" y="1207175"/>
                  <a:pt x="24668" y="1207175"/>
                </a:cubicBezTo>
                <a:lnTo>
                  <a:pt x="1114041" y="1205406"/>
                </a:lnTo>
                <a:lnTo>
                  <a:pt x="1045467" y="1140045"/>
                </a:lnTo>
                <a:cubicBezTo>
                  <a:pt x="1023563" y="1116134"/>
                  <a:pt x="1003208" y="1090634"/>
                  <a:pt x="984605" y="1063637"/>
                </a:cubicBezTo>
                <a:cubicBezTo>
                  <a:pt x="826347" y="833974"/>
                  <a:pt x="822920" y="537093"/>
                  <a:pt x="975836" y="304146"/>
                </a:cubicBezTo>
                <a:cubicBezTo>
                  <a:pt x="1011834" y="249308"/>
                  <a:pt x="1054993" y="200323"/>
                  <a:pt x="1103706" y="157970"/>
                </a:cubicBezTo>
                <a:lnTo>
                  <a:pt x="1116840" y="148003"/>
                </a:lnTo>
                <a:lnTo>
                  <a:pt x="314693" y="148003"/>
                </a:lnTo>
                <a:cubicBezTo>
                  <a:pt x="301069" y="148003"/>
                  <a:pt x="290025" y="136959"/>
                  <a:pt x="290025" y="123335"/>
                </a:cubicBezTo>
                <a:lnTo>
                  <a:pt x="290025" y="24668"/>
                </a:lnTo>
                <a:cubicBezTo>
                  <a:pt x="290025" y="11044"/>
                  <a:pt x="301069" y="0"/>
                  <a:pt x="314693" y="0"/>
                </a:cubicBezTo>
                <a:close/>
              </a:path>
            </a:pathLst>
          </a:custGeom>
          <a:solidFill>
            <a:srgbClr val="EC1C29"/>
          </a:solidFill>
          <a:ln w="127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  <a:scene3d>
            <a:camera prst="perspectiveBelow" fov="7200000">
              <a:rot lat="0" lon="0" rev="0"/>
            </a:camera>
            <a:lightRig rig="threePt" dir="t">
              <a:rot lat="0" lon="0" rev="7800000"/>
            </a:lightRig>
          </a:scene3d>
          <a:sp3d extrusionH="381000" contourW="12700" prstMaterial="plastic">
            <a:bevelT w="38100" h="254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0" name="Freeform 319"/>
          <p:cNvSpPr/>
          <p:nvPr/>
        </p:nvSpPr>
        <p:spPr>
          <a:xfrm flipH="1">
            <a:off x="6814860" y="2549461"/>
            <a:ext cx="1485358" cy="1016384"/>
          </a:xfrm>
          <a:custGeom>
            <a:avLst/>
            <a:gdLst>
              <a:gd name="connsiteX0" fmla="*/ 314693 w 1485358"/>
              <a:gd name="connsiteY0" fmla="*/ 0 h 1355178"/>
              <a:gd name="connsiteX1" fmla="*/ 1485358 w 1485358"/>
              <a:gd name="connsiteY1" fmla="*/ 0 h 1355178"/>
              <a:gd name="connsiteX2" fmla="*/ 1485358 w 1485358"/>
              <a:gd name="connsiteY2" fmla="*/ 148003 h 1355178"/>
              <a:gd name="connsiteX3" fmla="*/ 1482785 w 1485358"/>
              <a:gd name="connsiteY3" fmla="*/ 148003 h 1355178"/>
              <a:gd name="connsiteX4" fmla="*/ 1482826 w 1485358"/>
              <a:gd name="connsiteY4" fmla="*/ 148190 h 1355178"/>
              <a:gd name="connsiteX5" fmla="*/ 1114735 w 1485358"/>
              <a:gd name="connsiteY5" fmla="*/ 387517 h 1355178"/>
              <a:gd name="connsiteX6" fmla="*/ 1121671 w 1485358"/>
              <a:gd name="connsiteY6" fmla="*/ 977274 h 1355178"/>
              <a:gd name="connsiteX7" fmla="*/ 1385175 w 1485358"/>
              <a:gd name="connsiteY7" fmla="*/ 1178920 h 1355178"/>
              <a:gd name="connsiteX8" fmla="*/ 1485047 w 1485358"/>
              <a:gd name="connsiteY8" fmla="*/ 1206111 h 1355178"/>
              <a:gd name="connsiteX9" fmla="*/ 1485047 w 1485358"/>
              <a:gd name="connsiteY9" fmla="*/ 1355178 h 1355178"/>
              <a:gd name="connsiteX10" fmla="*/ 24668 w 1485358"/>
              <a:gd name="connsiteY10" fmla="*/ 1355178 h 1355178"/>
              <a:gd name="connsiteX11" fmla="*/ 0 w 1485358"/>
              <a:gd name="connsiteY11" fmla="*/ 1330510 h 1355178"/>
              <a:gd name="connsiteX12" fmla="*/ 0 w 1485358"/>
              <a:gd name="connsiteY12" fmla="*/ 1231843 h 1355178"/>
              <a:gd name="connsiteX13" fmla="*/ 24668 w 1485358"/>
              <a:gd name="connsiteY13" fmla="*/ 1207175 h 1355178"/>
              <a:gd name="connsiteX14" fmla="*/ 1114041 w 1485358"/>
              <a:gd name="connsiteY14" fmla="*/ 1205406 h 1355178"/>
              <a:gd name="connsiteX15" fmla="*/ 1045467 w 1485358"/>
              <a:gd name="connsiteY15" fmla="*/ 1140045 h 1355178"/>
              <a:gd name="connsiteX16" fmla="*/ 984605 w 1485358"/>
              <a:gd name="connsiteY16" fmla="*/ 1063637 h 1355178"/>
              <a:gd name="connsiteX17" fmla="*/ 975836 w 1485358"/>
              <a:gd name="connsiteY17" fmla="*/ 304146 h 1355178"/>
              <a:gd name="connsiteX18" fmla="*/ 1103706 w 1485358"/>
              <a:gd name="connsiteY18" fmla="*/ 157970 h 1355178"/>
              <a:gd name="connsiteX19" fmla="*/ 1116840 w 1485358"/>
              <a:gd name="connsiteY19" fmla="*/ 148003 h 1355178"/>
              <a:gd name="connsiteX20" fmla="*/ 314693 w 1485358"/>
              <a:gd name="connsiteY20" fmla="*/ 148003 h 1355178"/>
              <a:gd name="connsiteX21" fmla="*/ 290025 w 1485358"/>
              <a:gd name="connsiteY21" fmla="*/ 123335 h 1355178"/>
              <a:gd name="connsiteX22" fmla="*/ 290025 w 1485358"/>
              <a:gd name="connsiteY22" fmla="*/ 24668 h 1355178"/>
              <a:gd name="connsiteX23" fmla="*/ 314693 w 1485358"/>
              <a:gd name="connsiteY23" fmla="*/ 0 h 1355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85358" h="1355178">
                <a:moveTo>
                  <a:pt x="314693" y="0"/>
                </a:moveTo>
                <a:lnTo>
                  <a:pt x="1485358" y="0"/>
                </a:lnTo>
                <a:lnTo>
                  <a:pt x="1485358" y="148003"/>
                </a:lnTo>
                <a:lnTo>
                  <a:pt x="1482785" y="148003"/>
                </a:lnTo>
                <a:cubicBezTo>
                  <a:pt x="1482799" y="148065"/>
                  <a:pt x="1482812" y="148128"/>
                  <a:pt x="1482826" y="148190"/>
                </a:cubicBezTo>
                <a:cubicBezTo>
                  <a:pt x="1332934" y="177172"/>
                  <a:pt x="1199145" y="262238"/>
                  <a:pt x="1114735" y="387517"/>
                </a:cubicBezTo>
                <a:cubicBezTo>
                  <a:pt x="993098" y="568051"/>
                  <a:pt x="995817" y="799334"/>
                  <a:pt x="1121671" y="977274"/>
                </a:cubicBezTo>
                <a:cubicBezTo>
                  <a:pt x="1187060" y="1069727"/>
                  <a:pt x="1279601" y="1139068"/>
                  <a:pt x="1385175" y="1178920"/>
                </a:cubicBezTo>
                <a:lnTo>
                  <a:pt x="1485047" y="1206111"/>
                </a:lnTo>
                <a:lnTo>
                  <a:pt x="1485047" y="1355178"/>
                </a:lnTo>
                <a:lnTo>
                  <a:pt x="24668" y="1355178"/>
                </a:lnTo>
                <a:cubicBezTo>
                  <a:pt x="11044" y="1355178"/>
                  <a:pt x="0" y="1344134"/>
                  <a:pt x="0" y="1330510"/>
                </a:cubicBezTo>
                <a:lnTo>
                  <a:pt x="0" y="1231843"/>
                </a:lnTo>
                <a:cubicBezTo>
                  <a:pt x="0" y="1218219"/>
                  <a:pt x="11044" y="1207175"/>
                  <a:pt x="24668" y="1207175"/>
                </a:cubicBezTo>
                <a:lnTo>
                  <a:pt x="1114041" y="1205406"/>
                </a:lnTo>
                <a:lnTo>
                  <a:pt x="1045467" y="1140045"/>
                </a:lnTo>
                <a:cubicBezTo>
                  <a:pt x="1023563" y="1116134"/>
                  <a:pt x="1003208" y="1090634"/>
                  <a:pt x="984605" y="1063637"/>
                </a:cubicBezTo>
                <a:cubicBezTo>
                  <a:pt x="826347" y="833974"/>
                  <a:pt x="822920" y="537093"/>
                  <a:pt x="975836" y="304146"/>
                </a:cubicBezTo>
                <a:cubicBezTo>
                  <a:pt x="1011834" y="249308"/>
                  <a:pt x="1054993" y="200323"/>
                  <a:pt x="1103706" y="157970"/>
                </a:cubicBezTo>
                <a:lnTo>
                  <a:pt x="1116840" y="148003"/>
                </a:lnTo>
                <a:lnTo>
                  <a:pt x="314693" y="148003"/>
                </a:lnTo>
                <a:cubicBezTo>
                  <a:pt x="301069" y="148003"/>
                  <a:pt x="290025" y="136959"/>
                  <a:pt x="290025" y="123335"/>
                </a:cubicBezTo>
                <a:lnTo>
                  <a:pt x="290025" y="24668"/>
                </a:lnTo>
                <a:cubicBezTo>
                  <a:pt x="290025" y="11044"/>
                  <a:pt x="301069" y="0"/>
                  <a:pt x="314693" y="0"/>
                </a:cubicBezTo>
                <a:close/>
              </a:path>
            </a:pathLst>
          </a:custGeom>
          <a:solidFill>
            <a:srgbClr val="EC1C29"/>
          </a:solidFill>
          <a:ln w="127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  <a:scene3d>
            <a:camera prst="perspectiveBelow" fov="7200000">
              <a:rot lat="0" lon="0" rev="0"/>
            </a:camera>
            <a:lightRig rig="threePt" dir="t">
              <a:rot lat="0" lon="0" rev="7800000"/>
            </a:lightRig>
          </a:scene3d>
          <a:sp3d extrusionH="381000" contourW="12700" prstMaterial="plastic">
            <a:bevelT w="38100" h="254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1" name="16-Point Star 320"/>
          <p:cNvSpPr/>
          <p:nvPr/>
        </p:nvSpPr>
        <p:spPr>
          <a:xfrm>
            <a:off x="5924550" y="838200"/>
            <a:ext cx="565150" cy="417513"/>
          </a:xfrm>
          <a:prstGeom prst="star16">
            <a:avLst>
              <a:gd name="adj" fmla="val 32636"/>
            </a:avLst>
          </a:prstGeom>
          <a:solidFill>
            <a:srgbClr val="FFFF00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b="1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2777" name="Group 321"/>
          <p:cNvGrpSpPr>
            <a:grpSpLocks/>
          </p:cNvGrpSpPr>
          <p:nvPr/>
        </p:nvGrpSpPr>
        <p:grpSpPr bwMode="auto">
          <a:xfrm>
            <a:off x="790575" y="927100"/>
            <a:ext cx="2441575" cy="622300"/>
            <a:chOff x="790586" y="1235214"/>
            <a:chExt cx="2441447" cy="830220"/>
          </a:xfrm>
        </p:grpSpPr>
        <p:sp>
          <p:nvSpPr>
            <p:cNvPr id="323" name="Rectangle 257"/>
            <p:cNvSpPr>
              <a:spLocks noChangeArrowheads="1"/>
            </p:cNvSpPr>
            <p:nvPr/>
          </p:nvSpPr>
          <p:spPr bwMode="auto">
            <a:xfrm>
              <a:off x="790586" y="1845978"/>
              <a:ext cx="2441447" cy="219456"/>
            </a:xfrm>
            <a:prstGeom prst="roundRect">
              <a:avLst/>
            </a:prstGeom>
            <a:solidFill>
              <a:srgbClr val="009187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 prstMaterial="plastic"/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" name="Freeform 323"/>
            <p:cNvSpPr>
              <a:spLocks noChangeArrowheads="1"/>
            </p:cNvSpPr>
            <p:nvPr/>
          </p:nvSpPr>
          <p:spPr bwMode="auto">
            <a:xfrm rot="16200000">
              <a:off x="1615684" y="416652"/>
              <a:ext cx="784232" cy="2434428"/>
            </a:xfrm>
            <a:custGeom>
              <a:avLst/>
              <a:gdLst>
                <a:gd name="connsiteX0" fmla="*/ 784232 w 784232"/>
                <a:gd name="connsiteY0" fmla="*/ 2036830 h 2434428"/>
                <a:gd name="connsiteX1" fmla="*/ 559351 w 784232"/>
                <a:gd name="connsiteY1" fmla="*/ 2265633 h 2434428"/>
                <a:gd name="connsiteX2" fmla="*/ 471817 w 784232"/>
                <a:gd name="connsiteY2" fmla="*/ 2247653 h 2434428"/>
                <a:gd name="connsiteX3" fmla="*/ 433720 w 784232"/>
                <a:gd name="connsiteY3" fmla="*/ 2226613 h 2434428"/>
                <a:gd name="connsiteX4" fmla="*/ 433720 w 784232"/>
                <a:gd name="connsiteY4" fmla="*/ 2227242 h 2434428"/>
                <a:gd name="connsiteX5" fmla="*/ 198994 w 784232"/>
                <a:gd name="connsiteY5" fmla="*/ 2170443 h 2434428"/>
                <a:gd name="connsiteX6" fmla="*/ 180000 w 784232"/>
                <a:gd name="connsiteY6" fmla="*/ 2206708 h 2434428"/>
                <a:gd name="connsiteX7" fmla="*/ 180000 w 784232"/>
                <a:gd name="connsiteY7" fmla="*/ 2364458 h 2434428"/>
                <a:gd name="connsiteX8" fmla="*/ 180000 w 784232"/>
                <a:gd name="connsiteY8" fmla="*/ 2406711 h 2434428"/>
                <a:gd name="connsiteX9" fmla="*/ 149999 w 784232"/>
                <a:gd name="connsiteY9" fmla="*/ 2434428 h 2434428"/>
                <a:gd name="connsiteX10" fmla="*/ 30001 w 784232"/>
                <a:gd name="connsiteY10" fmla="*/ 2434428 h 2434428"/>
                <a:gd name="connsiteX11" fmla="*/ 0 w 784232"/>
                <a:gd name="connsiteY11" fmla="*/ 2406711 h 2434428"/>
                <a:gd name="connsiteX12" fmla="*/ 0 w 784232"/>
                <a:gd name="connsiteY12" fmla="*/ 27717 h 2434428"/>
                <a:gd name="connsiteX13" fmla="*/ 30001 w 784232"/>
                <a:gd name="connsiteY13" fmla="*/ 0 h 2434428"/>
                <a:gd name="connsiteX14" fmla="*/ 149999 w 784232"/>
                <a:gd name="connsiteY14" fmla="*/ 0 h 2434428"/>
                <a:gd name="connsiteX15" fmla="*/ 180000 w 784232"/>
                <a:gd name="connsiteY15" fmla="*/ 27717 h 2434428"/>
                <a:gd name="connsiteX16" fmla="*/ 180000 w 784232"/>
                <a:gd name="connsiteY16" fmla="*/ 65911 h 2434428"/>
                <a:gd name="connsiteX17" fmla="*/ 180000 w 784232"/>
                <a:gd name="connsiteY17" fmla="*/ 228904 h 2434428"/>
                <a:gd name="connsiteX18" fmla="*/ 204752 w 784232"/>
                <a:gd name="connsiteY18" fmla="*/ 262383 h 2434428"/>
                <a:gd name="connsiteX19" fmla="*/ 433719 w 784232"/>
                <a:gd name="connsiteY19" fmla="*/ 214356 h 2434428"/>
                <a:gd name="connsiteX20" fmla="*/ 471816 w 784232"/>
                <a:gd name="connsiteY20" fmla="*/ 193794 h 2434428"/>
                <a:gd name="connsiteX21" fmla="*/ 559350 w 784232"/>
                <a:gd name="connsiteY21" fmla="*/ 175813 h 2434428"/>
                <a:gd name="connsiteX22" fmla="*/ 784231 w 784232"/>
                <a:gd name="connsiteY22" fmla="*/ 404616 h 2434428"/>
                <a:gd name="connsiteX23" fmla="*/ 559350 w 784232"/>
                <a:gd name="connsiteY23" fmla="*/ 633419 h 2434428"/>
                <a:gd name="connsiteX24" fmla="*/ 471816 w 784232"/>
                <a:gd name="connsiteY24" fmla="*/ 615439 h 2434428"/>
                <a:gd name="connsiteX25" fmla="*/ 433719 w 784232"/>
                <a:gd name="connsiteY25" fmla="*/ 594399 h 2434428"/>
                <a:gd name="connsiteX26" fmla="*/ 433719 w 784232"/>
                <a:gd name="connsiteY26" fmla="*/ 595028 h 2434428"/>
                <a:gd name="connsiteX27" fmla="*/ 198993 w 784232"/>
                <a:gd name="connsiteY27" fmla="*/ 538229 h 2434428"/>
                <a:gd name="connsiteX28" fmla="*/ 180000 w 784232"/>
                <a:gd name="connsiteY28" fmla="*/ 574493 h 2434428"/>
                <a:gd name="connsiteX29" fmla="*/ 180000 w 784232"/>
                <a:gd name="connsiteY29" fmla="*/ 1861116 h 2434428"/>
                <a:gd name="connsiteX30" fmla="*/ 204752 w 784232"/>
                <a:gd name="connsiteY30" fmla="*/ 1894597 h 2434428"/>
                <a:gd name="connsiteX31" fmla="*/ 433720 w 784232"/>
                <a:gd name="connsiteY31" fmla="*/ 1846570 h 2434428"/>
                <a:gd name="connsiteX32" fmla="*/ 471817 w 784232"/>
                <a:gd name="connsiteY32" fmla="*/ 1826008 h 2434428"/>
                <a:gd name="connsiteX33" fmla="*/ 559351 w 784232"/>
                <a:gd name="connsiteY33" fmla="*/ 1808027 h 2434428"/>
                <a:gd name="connsiteX34" fmla="*/ 784232 w 784232"/>
                <a:gd name="connsiteY34" fmla="*/ 2036830 h 243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4232" h="2434428">
                  <a:moveTo>
                    <a:pt x="784232" y="2036830"/>
                  </a:moveTo>
                  <a:cubicBezTo>
                    <a:pt x="784232" y="2163194"/>
                    <a:pt x="683549" y="2265633"/>
                    <a:pt x="559351" y="2265633"/>
                  </a:cubicBezTo>
                  <a:cubicBezTo>
                    <a:pt x="528302" y="2265633"/>
                    <a:pt x="498722" y="2259231"/>
                    <a:pt x="471817" y="2247653"/>
                  </a:cubicBezTo>
                  <a:lnTo>
                    <a:pt x="433720" y="2226613"/>
                  </a:lnTo>
                  <a:lnTo>
                    <a:pt x="433720" y="2227242"/>
                  </a:lnTo>
                  <a:cubicBezTo>
                    <a:pt x="315079" y="2139717"/>
                    <a:pt x="239858" y="2129629"/>
                    <a:pt x="198994" y="2170443"/>
                  </a:cubicBezTo>
                  <a:lnTo>
                    <a:pt x="180000" y="2206708"/>
                  </a:lnTo>
                  <a:lnTo>
                    <a:pt x="180000" y="2364458"/>
                  </a:lnTo>
                  <a:lnTo>
                    <a:pt x="180000" y="2406711"/>
                  </a:lnTo>
                  <a:cubicBezTo>
                    <a:pt x="180000" y="2422019"/>
                    <a:pt x="166568" y="2434428"/>
                    <a:pt x="149999" y="2434428"/>
                  </a:cubicBezTo>
                  <a:lnTo>
                    <a:pt x="30001" y="2434428"/>
                  </a:lnTo>
                  <a:cubicBezTo>
                    <a:pt x="13432" y="2434428"/>
                    <a:pt x="0" y="2422019"/>
                    <a:pt x="0" y="2406711"/>
                  </a:cubicBezTo>
                  <a:lnTo>
                    <a:pt x="0" y="27717"/>
                  </a:lnTo>
                  <a:cubicBezTo>
                    <a:pt x="0" y="12410"/>
                    <a:pt x="13432" y="0"/>
                    <a:pt x="30001" y="0"/>
                  </a:cubicBezTo>
                  <a:lnTo>
                    <a:pt x="149999" y="0"/>
                  </a:lnTo>
                  <a:cubicBezTo>
                    <a:pt x="166568" y="0"/>
                    <a:pt x="180000" y="12410"/>
                    <a:pt x="180000" y="27717"/>
                  </a:cubicBezTo>
                  <a:lnTo>
                    <a:pt x="180000" y="65911"/>
                  </a:lnTo>
                  <a:lnTo>
                    <a:pt x="180000" y="228904"/>
                  </a:lnTo>
                  <a:lnTo>
                    <a:pt x="204752" y="262383"/>
                  </a:lnTo>
                  <a:cubicBezTo>
                    <a:pt x="248253" y="299293"/>
                    <a:pt x="317947" y="297956"/>
                    <a:pt x="433719" y="214356"/>
                  </a:cubicBezTo>
                  <a:lnTo>
                    <a:pt x="471816" y="193794"/>
                  </a:lnTo>
                  <a:cubicBezTo>
                    <a:pt x="498721" y="182215"/>
                    <a:pt x="528301" y="175813"/>
                    <a:pt x="559350" y="175813"/>
                  </a:cubicBezTo>
                  <a:cubicBezTo>
                    <a:pt x="683548" y="175813"/>
                    <a:pt x="784231" y="278252"/>
                    <a:pt x="784231" y="404616"/>
                  </a:cubicBezTo>
                  <a:cubicBezTo>
                    <a:pt x="784231" y="530980"/>
                    <a:pt x="683548" y="633419"/>
                    <a:pt x="559350" y="633419"/>
                  </a:cubicBezTo>
                  <a:cubicBezTo>
                    <a:pt x="528301" y="633419"/>
                    <a:pt x="498721" y="627017"/>
                    <a:pt x="471816" y="615439"/>
                  </a:cubicBezTo>
                  <a:lnTo>
                    <a:pt x="433719" y="594399"/>
                  </a:lnTo>
                  <a:lnTo>
                    <a:pt x="433719" y="595028"/>
                  </a:lnTo>
                  <a:cubicBezTo>
                    <a:pt x="315079" y="507504"/>
                    <a:pt x="239858" y="497415"/>
                    <a:pt x="198993" y="538229"/>
                  </a:cubicBezTo>
                  <a:lnTo>
                    <a:pt x="180000" y="574493"/>
                  </a:lnTo>
                  <a:lnTo>
                    <a:pt x="180000" y="1861116"/>
                  </a:lnTo>
                  <a:lnTo>
                    <a:pt x="204752" y="1894597"/>
                  </a:lnTo>
                  <a:cubicBezTo>
                    <a:pt x="248253" y="1931506"/>
                    <a:pt x="317947" y="1930170"/>
                    <a:pt x="433720" y="1846570"/>
                  </a:cubicBezTo>
                  <a:lnTo>
                    <a:pt x="471817" y="1826008"/>
                  </a:lnTo>
                  <a:cubicBezTo>
                    <a:pt x="498722" y="1814429"/>
                    <a:pt x="528302" y="1808027"/>
                    <a:pt x="559351" y="1808027"/>
                  </a:cubicBezTo>
                  <a:cubicBezTo>
                    <a:pt x="683549" y="1808027"/>
                    <a:pt x="784232" y="1910466"/>
                    <a:pt x="784232" y="203683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187">
                    <a:lumMod val="75000"/>
                  </a:srgbClr>
                </a:gs>
                <a:gs pos="100000">
                  <a:srgbClr val="009187">
                    <a:lumMod val="60000"/>
                    <a:lumOff val="40000"/>
                  </a:srgbClr>
                </a:gs>
                <a:gs pos="14000">
                  <a:srgbClr val="009187"/>
                </a:gs>
                <a:gs pos="79000">
                  <a:srgbClr val="009187">
                    <a:lumMod val="75000"/>
                  </a:srgbClr>
                </a:gs>
              </a:gsLst>
              <a:lin ang="0" scaled="1"/>
              <a:tileRect/>
            </a:gradFill>
            <a:ln w="0" cap="flat" cmpd="sng" algn="ctr">
              <a:solidFill>
                <a:sysClr val="window" lastClr="FFFFFF"/>
              </a:solidFill>
              <a:prstDash val="solid"/>
            </a:ln>
            <a:effectLst/>
            <a:scene3d>
              <a:camera prst="orthographicFront"/>
              <a:lightRig rig="threePt" dir="t">
                <a:rot lat="0" lon="0" rev="7200000"/>
              </a:lightRig>
            </a:scene3d>
            <a:sp3d prstMaterial="plastic"/>
          </p:spPr>
          <p:txBody>
            <a:bodyPr anchor="ctr"/>
            <a:lstStyle/>
            <a:p>
              <a:pPr algn="ctr">
                <a:defRPr/>
              </a:pPr>
              <a:endParaRPr lang="en-AU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25" name="Group 324"/>
            <p:cNvGrpSpPr/>
            <p:nvPr/>
          </p:nvGrpSpPr>
          <p:grpSpPr>
            <a:xfrm>
              <a:off x="991173" y="1266099"/>
              <a:ext cx="413168" cy="401064"/>
              <a:chOff x="3297503" y="1960054"/>
              <a:chExt cx="896104" cy="869855"/>
            </a:xfrm>
            <a:effectLst>
              <a:outerShdw blurRad="50800" sx="101000" sy="101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337" name="Oval 336"/>
              <p:cNvSpPr/>
              <p:nvPr/>
            </p:nvSpPr>
            <p:spPr>
              <a:xfrm>
                <a:off x="3297503" y="1960054"/>
                <a:ext cx="885022" cy="869855"/>
              </a:xfrm>
              <a:prstGeom prst="ellipse">
                <a:avLst/>
              </a:prstGeom>
              <a:gradFill flip="none" rotWithShape="1">
                <a:gsLst>
                  <a:gs pos="77000">
                    <a:srgbClr val="009187"/>
                  </a:gs>
                  <a:gs pos="0">
                    <a:srgbClr val="009187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" name="Rectangle 6"/>
              <p:cNvSpPr/>
              <p:nvPr/>
            </p:nvSpPr>
            <p:spPr>
              <a:xfrm>
                <a:off x="3780801" y="1988495"/>
                <a:ext cx="235623" cy="15291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681" h="328612">
                    <a:moveTo>
                      <a:pt x="0" y="0"/>
                    </a:moveTo>
                    <a:cubicBezTo>
                      <a:pt x="108744" y="9525"/>
                      <a:pt x="369886" y="64294"/>
                      <a:pt x="497681" y="228600"/>
                    </a:cubicBezTo>
                    <a:lnTo>
                      <a:pt x="381001" y="328612"/>
                    </a:lnTo>
                    <a:cubicBezTo>
                      <a:pt x="350838" y="287336"/>
                      <a:pt x="168276" y="172244"/>
                      <a:pt x="35719" y="13811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" name="Rectangle 6"/>
              <p:cNvSpPr/>
              <p:nvPr/>
            </p:nvSpPr>
            <p:spPr>
              <a:xfrm rot="1800000">
                <a:off x="3947274" y="2149700"/>
                <a:ext cx="246333" cy="19595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302" h="421115">
                    <a:moveTo>
                      <a:pt x="49005" y="0"/>
                    </a:moveTo>
                    <a:cubicBezTo>
                      <a:pt x="162745" y="3891"/>
                      <a:pt x="407262" y="172741"/>
                      <a:pt x="520302" y="340068"/>
                    </a:cubicBezTo>
                    <a:cubicBezTo>
                      <a:pt x="474101" y="346461"/>
                      <a:pt x="438701" y="390612"/>
                      <a:pt x="417419" y="421115"/>
                    </a:cubicBezTo>
                    <a:cubicBezTo>
                      <a:pt x="363125" y="333280"/>
                      <a:pt x="138104" y="168461"/>
                      <a:pt x="0" y="148532"/>
                    </a:cubicBezTo>
                    <a:lnTo>
                      <a:pt x="49005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" name="Rectangle 6"/>
              <p:cNvSpPr/>
              <p:nvPr/>
            </p:nvSpPr>
            <p:spPr>
              <a:xfrm>
                <a:off x="3753290" y="2070492"/>
                <a:ext cx="192782" cy="14404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61962"/>
                  <a:gd name="connsiteY0" fmla="*/ 0 h 328612"/>
                  <a:gd name="connsiteX1" fmla="*/ 461962 w 461962"/>
                  <a:gd name="connsiteY1" fmla="*/ 197644 h 328612"/>
                  <a:gd name="connsiteX2" fmla="*/ 381001 w 461962"/>
                  <a:gd name="connsiteY2" fmla="*/ 328612 h 328612"/>
                  <a:gd name="connsiteX3" fmla="*/ 35719 w 461962"/>
                  <a:gd name="connsiteY3" fmla="*/ 138113 h 328612"/>
                  <a:gd name="connsiteX4" fmla="*/ 0 w 461962"/>
                  <a:gd name="connsiteY4" fmla="*/ 0 h 328612"/>
                  <a:gd name="connsiteX0" fmla="*/ 0 w 461962"/>
                  <a:gd name="connsiteY0" fmla="*/ 0 h 319087"/>
                  <a:gd name="connsiteX1" fmla="*/ 461962 w 461962"/>
                  <a:gd name="connsiteY1" fmla="*/ 197644 h 319087"/>
                  <a:gd name="connsiteX2" fmla="*/ 381001 w 461962"/>
                  <a:gd name="connsiteY2" fmla="*/ 319087 h 319087"/>
                  <a:gd name="connsiteX3" fmla="*/ 35719 w 461962"/>
                  <a:gd name="connsiteY3" fmla="*/ 138113 h 319087"/>
                  <a:gd name="connsiteX4" fmla="*/ 0 w 461962"/>
                  <a:gd name="connsiteY4" fmla="*/ 0 h 319087"/>
                  <a:gd name="connsiteX0" fmla="*/ 100012 w 426243"/>
                  <a:gd name="connsiteY0" fmla="*/ 0 h 295274"/>
                  <a:gd name="connsiteX1" fmla="*/ 426243 w 426243"/>
                  <a:gd name="connsiteY1" fmla="*/ 173831 h 295274"/>
                  <a:gd name="connsiteX2" fmla="*/ 345282 w 426243"/>
                  <a:gd name="connsiteY2" fmla="*/ 295274 h 295274"/>
                  <a:gd name="connsiteX3" fmla="*/ 0 w 426243"/>
                  <a:gd name="connsiteY3" fmla="*/ 114300 h 295274"/>
                  <a:gd name="connsiteX4" fmla="*/ 100012 w 426243"/>
                  <a:gd name="connsiteY4" fmla="*/ 0 h 295274"/>
                  <a:gd name="connsiteX0" fmla="*/ 71437 w 397668"/>
                  <a:gd name="connsiteY0" fmla="*/ 0 h 295274"/>
                  <a:gd name="connsiteX1" fmla="*/ 397668 w 397668"/>
                  <a:gd name="connsiteY1" fmla="*/ 173831 h 295274"/>
                  <a:gd name="connsiteX2" fmla="*/ 316707 w 397668"/>
                  <a:gd name="connsiteY2" fmla="*/ 295274 h 295274"/>
                  <a:gd name="connsiteX3" fmla="*/ 0 w 397668"/>
                  <a:gd name="connsiteY3" fmla="*/ 107156 h 295274"/>
                  <a:gd name="connsiteX4" fmla="*/ 71437 w 397668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7655"/>
                  <a:gd name="connsiteX1" fmla="*/ 407193 w 407193"/>
                  <a:gd name="connsiteY1" fmla="*/ 173831 h 297655"/>
                  <a:gd name="connsiteX2" fmla="*/ 323851 w 407193"/>
                  <a:gd name="connsiteY2" fmla="*/ 297655 h 297655"/>
                  <a:gd name="connsiteX3" fmla="*/ 0 w 407193"/>
                  <a:gd name="connsiteY3" fmla="*/ 119062 h 297655"/>
                  <a:gd name="connsiteX4" fmla="*/ 80962 w 407193"/>
                  <a:gd name="connsiteY4" fmla="*/ 0 h 297655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193" h="309561">
                    <a:moveTo>
                      <a:pt x="83344" y="0"/>
                    </a:moveTo>
                    <a:cubicBezTo>
                      <a:pt x="220663" y="47625"/>
                      <a:pt x="286541" y="76199"/>
                      <a:pt x="407193" y="185737"/>
                    </a:cubicBezTo>
                    <a:lnTo>
                      <a:pt x="323851" y="309561"/>
                    </a:lnTo>
                    <a:cubicBezTo>
                      <a:pt x="288926" y="246854"/>
                      <a:pt x="127795" y="148430"/>
                      <a:pt x="0" y="130968"/>
                    </a:cubicBezTo>
                    <a:cubicBezTo>
                      <a:pt x="50799" y="103187"/>
                      <a:pt x="77789" y="53974"/>
                      <a:pt x="83344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" name="Rectangle 6"/>
              <p:cNvSpPr/>
              <p:nvPr/>
            </p:nvSpPr>
            <p:spPr>
              <a:xfrm rot="1800000">
                <a:off x="3887126" y="2212407"/>
                <a:ext cx="190770" cy="25373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  <a:gd name="connsiteX0" fmla="*/ 49005 w 520302"/>
                  <a:gd name="connsiteY0" fmla="*/ 0 h 548528"/>
                  <a:gd name="connsiteX1" fmla="*/ 520302 w 520302"/>
                  <a:gd name="connsiteY1" fmla="*/ 340068 h 548528"/>
                  <a:gd name="connsiteX2" fmla="*/ 391995 w 520302"/>
                  <a:gd name="connsiteY2" fmla="*/ 548528 h 548528"/>
                  <a:gd name="connsiteX3" fmla="*/ 0 w 520302"/>
                  <a:gd name="connsiteY3" fmla="*/ 148532 h 548528"/>
                  <a:gd name="connsiteX4" fmla="*/ 49005 w 520302"/>
                  <a:gd name="connsiteY4" fmla="*/ 0 h 548528"/>
                  <a:gd name="connsiteX0" fmla="*/ 49005 w 444358"/>
                  <a:gd name="connsiteY0" fmla="*/ 0 h 548528"/>
                  <a:gd name="connsiteX1" fmla="*/ 444358 w 444358"/>
                  <a:gd name="connsiteY1" fmla="*/ 265680 h 548528"/>
                  <a:gd name="connsiteX2" fmla="*/ 391995 w 444358"/>
                  <a:gd name="connsiteY2" fmla="*/ 548528 h 548528"/>
                  <a:gd name="connsiteX3" fmla="*/ 0 w 444358"/>
                  <a:gd name="connsiteY3" fmla="*/ 148532 h 548528"/>
                  <a:gd name="connsiteX4" fmla="*/ 49005 w 444358"/>
                  <a:gd name="connsiteY4" fmla="*/ 0 h 548528"/>
                  <a:gd name="connsiteX0" fmla="*/ 49005 w 448802"/>
                  <a:gd name="connsiteY0" fmla="*/ 0 h 548528"/>
                  <a:gd name="connsiteX1" fmla="*/ 448802 w 448802"/>
                  <a:gd name="connsiteY1" fmla="*/ 268615 h 548528"/>
                  <a:gd name="connsiteX2" fmla="*/ 391995 w 448802"/>
                  <a:gd name="connsiteY2" fmla="*/ 548528 h 548528"/>
                  <a:gd name="connsiteX3" fmla="*/ 0 w 448802"/>
                  <a:gd name="connsiteY3" fmla="*/ 148532 h 548528"/>
                  <a:gd name="connsiteX4" fmla="*/ 49005 w 44880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942" h="545275">
                    <a:moveTo>
                      <a:pt x="2272" y="0"/>
                    </a:moveTo>
                    <a:cubicBezTo>
                      <a:pt x="137358" y="21813"/>
                      <a:pt x="292369" y="121357"/>
                      <a:pt x="402942" y="265362"/>
                    </a:cubicBezTo>
                    <a:cubicBezTo>
                      <a:pt x="366267" y="288253"/>
                      <a:pt x="324638" y="459732"/>
                      <a:pt x="346135" y="545275"/>
                    </a:cubicBezTo>
                    <a:cubicBezTo>
                      <a:pt x="317459" y="439900"/>
                      <a:pt x="136363" y="189232"/>
                      <a:pt x="0" y="162797"/>
                    </a:cubicBezTo>
                    <a:cubicBezTo>
                      <a:pt x="1048" y="107447"/>
                      <a:pt x="1224" y="55350"/>
                      <a:pt x="2272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" name="Rectangle 7"/>
              <p:cNvSpPr/>
              <p:nvPr/>
            </p:nvSpPr>
            <p:spPr>
              <a:xfrm>
                <a:off x="3327366" y="2502665"/>
                <a:ext cx="426376" cy="304302"/>
              </a:xfrm>
              <a:custGeom>
                <a:avLst/>
                <a:gdLst>
                  <a:gd name="connsiteX0" fmla="*/ 0 w 45719"/>
                  <a:gd name="connsiteY0" fmla="*/ 0 h 296052"/>
                  <a:gd name="connsiteX1" fmla="*/ 45719 w 45719"/>
                  <a:gd name="connsiteY1" fmla="*/ 0 h 296052"/>
                  <a:gd name="connsiteX2" fmla="*/ 45719 w 45719"/>
                  <a:gd name="connsiteY2" fmla="*/ 296052 h 296052"/>
                  <a:gd name="connsiteX3" fmla="*/ 0 w 45719"/>
                  <a:gd name="connsiteY3" fmla="*/ 296052 h 296052"/>
                  <a:gd name="connsiteX4" fmla="*/ 0 w 45719"/>
                  <a:gd name="connsiteY4" fmla="*/ 0 h 296052"/>
                  <a:gd name="connsiteX0" fmla="*/ 0 w 355282"/>
                  <a:gd name="connsiteY0" fmla="*/ 0 h 343677"/>
                  <a:gd name="connsiteX1" fmla="*/ 355282 w 355282"/>
                  <a:gd name="connsiteY1" fmla="*/ 47625 h 343677"/>
                  <a:gd name="connsiteX2" fmla="*/ 355282 w 355282"/>
                  <a:gd name="connsiteY2" fmla="*/ 343677 h 343677"/>
                  <a:gd name="connsiteX3" fmla="*/ 309563 w 355282"/>
                  <a:gd name="connsiteY3" fmla="*/ 343677 h 343677"/>
                  <a:gd name="connsiteX4" fmla="*/ 0 w 355282"/>
                  <a:gd name="connsiteY4" fmla="*/ 0 h 343677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309563 w 905350"/>
                  <a:gd name="connsiteY3" fmla="*/ 343677 h 665146"/>
                  <a:gd name="connsiteX4" fmla="*/ 0 w 905350"/>
                  <a:gd name="connsiteY4" fmla="*/ 0 h 665146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0 w 905350"/>
                  <a:gd name="connsiteY3" fmla="*/ 0 h 665146"/>
                  <a:gd name="connsiteX0" fmla="*/ 0 w 905350"/>
                  <a:gd name="connsiteY0" fmla="*/ 0 h 665286"/>
                  <a:gd name="connsiteX1" fmla="*/ 355282 w 905350"/>
                  <a:gd name="connsiteY1" fmla="*/ 47625 h 665286"/>
                  <a:gd name="connsiteX2" fmla="*/ 905350 w 905350"/>
                  <a:gd name="connsiteY2" fmla="*/ 665146 h 665286"/>
                  <a:gd name="connsiteX3" fmla="*/ 0 w 905350"/>
                  <a:gd name="connsiteY3" fmla="*/ 0 h 665286"/>
                  <a:gd name="connsiteX0" fmla="*/ 0 w 902969"/>
                  <a:gd name="connsiteY0" fmla="*/ 0 h 658144"/>
                  <a:gd name="connsiteX1" fmla="*/ 355282 w 902969"/>
                  <a:gd name="connsiteY1" fmla="*/ 47625 h 658144"/>
                  <a:gd name="connsiteX2" fmla="*/ 902969 w 902969"/>
                  <a:gd name="connsiteY2" fmla="*/ 658002 h 658144"/>
                  <a:gd name="connsiteX3" fmla="*/ 0 w 902969"/>
                  <a:gd name="connsiteY3" fmla="*/ 0 h 658144"/>
                  <a:gd name="connsiteX0" fmla="*/ 0 w 895825"/>
                  <a:gd name="connsiteY0" fmla="*/ 0 h 660525"/>
                  <a:gd name="connsiteX1" fmla="*/ 348138 w 895825"/>
                  <a:gd name="connsiteY1" fmla="*/ 50007 h 660525"/>
                  <a:gd name="connsiteX2" fmla="*/ 895825 w 895825"/>
                  <a:gd name="connsiteY2" fmla="*/ 660384 h 660525"/>
                  <a:gd name="connsiteX3" fmla="*/ 0 w 895825"/>
                  <a:gd name="connsiteY3" fmla="*/ 0 h 660525"/>
                  <a:gd name="connsiteX0" fmla="*/ 0 w 895825"/>
                  <a:gd name="connsiteY0" fmla="*/ 0 h 660561"/>
                  <a:gd name="connsiteX1" fmla="*/ 348138 w 895825"/>
                  <a:gd name="connsiteY1" fmla="*/ 50007 h 660561"/>
                  <a:gd name="connsiteX2" fmla="*/ 895825 w 895825"/>
                  <a:gd name="connsiteY2" fmla="*/ 660384 h 660561"/>
                  <a:gd name="connsiteX3" fmla="*/ 0 w 895825"/>
                  <a:gd name="connsiteY3" fmla="*/ 0 h 660561"/>
                  <a:gd name="connsiteX0" fmla="*/ 0 w 895825"/>
                  <a:gd name="connsiteY0" fmla="*/ 0 h 660426"/>
                  <a:gd name="connsiteX1" fmla="*/ 348138 w 895825"/>
                  <a:gd name="connsiteY1" fmla="*/ 50007 h 660426"/>
                  <a:gd name="connsiteX2" fmla="*/ 895825 w 895825"/>
                  <a:gd name="connsiteY2" fmla="*/ 660384 h 660426"/>
                  <a:gd name="connsiteX3" fmla="*/ 0 w 895825"/>
                  <a:gd name="connsiteY3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900587"/>
                  <a:gd name="connsiteY0" fmla="*/ 0 h 653284"/>
                  <a:gd name="connsiteX1" fmla="*/ 900587 w 900587"/>
                  <a:gd name="connsiteY1" fmla="*/ 653241 h 653284"/>
                  <a:gd name="connsiteX2" fmla="*/ 0 w 900587"/>
                  <a:gd name="connsiteY2" fmla="*/ 0 h 653284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0587" h="653951">
                    <a:moveTo>
                      <a:pt x="0" y="0"/>
                    </a:moveTo>
                    <a:cubicBezTo>
                      <a:pt x="115251" y="279659"/>
                      <a:pt x="432910" y="642663"/>
                      <a:pt x="900587" y="653241"/>
                    </a:cubicBezTo>
                    <a:cubicBezTo>
                      <a:pt x="420210" y="672031"/>
                      <a:pt x="80327" y="314584"/>
                      <a:pt x="0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9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26" name="Rectangle 163"/>
            <p:cNvSpPr>
              <a:spLocks noChangeArrowheads="1"/>
            </p:cNvSpPr>
            <p:nvPr/>
          </p:nvSpPr>
          <p:spPr bwMode="auto">
            <a:xfrm>
              <a:off x="1001713" y="1235214"/>
              <a:ext cx="392091" cy="4934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>
                <a:defRPr/>
              </a:pPr>
              <a:r>
                <a:rPr lang="en-US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ＭＳ Ｐゴシック" pitchFamily="1" charset="-128"/>
                  <a:cs typeface="Arial" pitchFamily="34" charset="0"/>
                </a:rPr>
                <a:t>F</a:t>
              </a:r>
            </a:p>
          </p:txBody>
        </p:sp>
        <p:sp>
          <p:nvSpPr>
            <p:cNvPr id="327" name="Oval 326"/>
            <p:cNvSpPr/>
            <p:nvPr/>
          </p:nvSpPr>
          <p:spPr>
            <a:xfrm>
              <a:off x="1047670" y="1278191"/>
              <a:ext cx="295249" cy="198738"/>
            </a:xfrm>
            <a:prstGeom prst="ellipse">
              <a:avLst/>
            </a:prstGeom>
            <a:gradFill>
              <a:gsLst>
                <a:gs pos="100000">
                  <a:sysClr val="window" lastClr="FFFFFF">
                    <a:alpha val="0"/>
                  </a:sysClr>
                </a:gs>
                <a:gs pos="0">
                  <a:srgbClr val="009187">
                    <a:lumMod val="20000"/>
                    <a:lumOff val="80000"/>
                  </a:srgbClr>
                </a:gs>
              </a:gsLst>
              <a:lin ang="5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b="1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28" name="Group 327"/>
            <p:cNvGrpSpPr/>
            <p:nvPr/>
          </p:nvGrpSpPr>
          <p:grpSpPr>
            <a:xfrm>
              <a:off x="2623387" y="1266099"/>
              <a:ext cx="413168" cy="401064"/>
              <a:chOff x="3297503" y="1960054"/>
              <a:chExt cx="896104" cy="869855"/>
            </a:xfrm>
            <a:effectLst>
              <a:outerShdw blurRad="50800" sx="101000" sy="101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331" name="Oval 330"/>
              <p:cNvSpPr/>
              <p:nvPr/>
            </p:nvSpPr>
            <p:spPr>
              <a:xfrm>
                <a:off x="3297503" y="1960054"/>
                <a:ext cx="885022" cy="869855"/>
              </a:xfrm>
              <a:prstGeom prst="ellipse">
                <a:avLst/>
              </a:prstGeom>
              <a:gradFill flip="none" rotWithShape="1">
                <a:gsLst>
                  <a:gs pos="77000">
                    <a:srgbClr val="009187"/>
                  </a:gs>
                  <a:gs pos="0">
                    <a:srgbClr val="009187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" name="Rectangle 6"/>
              <p:cNvSpPr/>
              <p:nvPr/>
            </p:nvSpPr>
            <p:spPr>
              <a:xfrm>
                <a:off x="3780801" y="1988495"/>
                <a:ext cx="235623" cy="15291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681" h="328612">
                    <a:moveTo>
                      <a:pt x="0" y="0"/>
                    </a:moveTo>
                    <a:cubicBezTo>
                      <a:pt x="108744" y="9525"/>
                      <a:pt x="369886" y="64294"/>
                      <a:pt x="497681" y="228600"/>
                    </a:cubicBezTo>
                    <a:lnTo>
                      <a:pt x="381001" y="328612"/>
                    </a:lnTo>
                    <a:cubicBezTo>
                      <a:pt x="350838" y="287336"/>
                      <a:pt x="168276" y="172244"/>
                      <a:pt x="35719" y="13811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" name="Rectangle 6"/>
              <p:cNvSpPr/>
              <p:nvPr/>
            </p:nvSpPr>
            <p:spPr>
              <a:xfrm rot="1800000">
                <a:off x="3947274" y="2149700"/>
                <a:ext cx="246333" cy="19595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302" h="421115">
                    <a:moveTo>
                      <a:pt x="49005" y="0"/>
                    </a:moveTo>
                    <a:cubicBezTo>
                      <a:pt x="162745" y="3891"/>
                      <a:pt x="407262" y="172741"/>
                      <a:pt x="520302" y="340068"/>
                    </a:cubicBezTo>
                    <a:cubicBezTo>
                      <a:pt x="474101" y="346461"/>
                      <a:pt x="438701" y="390612"/>
                      <a:pt x="417419" y="421115"/>
                    </a:cubicBezTo>
                    <a:cubicBezTo>
                      <a:pt x="363125" y="333280"/>
                      <a:pt x="138104" y="168461"/>
                      <a:pt x="0" y="148532"/>
                    </a:cubicBezTo>
                    <a:lnTo>
                      <a:pt x="49005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" name="Rectangle 6"/>
              <p:cNvSpPr/>
              <p:nvPr/>
            </p:nvSpPr>
            <p:spPr>
              <a:xfrm>
                <a:off x="3753290" y="2070492"/>
                <a:ext cx="192782" cy="14404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61962"/>
                  <a:gd name="connsiteY0" fmla="*/ 0 h 328612"/>
                  <a:gd name="connsiteX1" fmla="*/ 461962 w 461962"/>
                  <a:gd name="connsiteY1" fmla="*/ 197644 h 328612"/>
                  <a:gd name="connsiteX2" fmla="*/ 381001 w 461962"/>
                  <a:gd name="connsiteY2" fmla="*/ 328612 h 328612"/>
                  <a:gd name="connsiteX3" fmla="*/ 35719 w 461962"/>
                  <a:gd name="connsiteY3" fmla="*/ 138113 h 328612"/>
                  <a:gd name="connsiteX4" fmla="*/ 0 w 461962"/>
                  <a:gd name="connsiteY4" fmla="*/ 0 h 328612"/>
                  <a:gd name="connsiteX0" fmla="*/ 0 w 461962"/>
                  <a:gd name="connsiteY0" fmla="*/ 0 h 319087"/>
                  <a:gd name="connsiteX1" fmla="*/ 461962 w 461962"/>
                  <a:gd name="connsiteY1" fmla="*/ 197644 h 319087"/>
                  <a:gd name="connsiteX2" fmla="*/ 381001 w 461962"/>
                  <a:gd name="connsiteY2" fmla="*/ 319087 h 319087"/>
                  <a:gd name="connsiteX3" fmla="*/ 35719 w 461962"/>
                  <a:gd name="connsiteY3" fmla="*/ 138113 h 319087"/>
                  <a:gd name="connsiteX4" fmla="*/ 0 w 461962"/>
                  <a:gd name="connsiteY4" fmla="*/ 0 h 319087"/>
                  <a:gd name="connsiteX0" fmla="*/ 100012 w 426243"/>
                  <a:gd name="connsiteY0" fmla="*/ 0 h 295274"/>
                  <a:gd name="connsiteX1" fmla="*/ 426243 w 426243"/>
                  <a:gd name="connsiteY1" fmla="*/ 173831 h 295274"/>
                  <a:gd name="connsiteX2" fmla="*/ 345282 w 426243"/>
                  <a:gd name="connsiteY2" fmla="*/ 295274 h 295274"/>
                  <a:gd name="connsiteX3" fmla="*/ 0 w 426243"/>
                  <a:gd name="connsiteY3" fmla="*/ 114300 h 295274"/>
                  <a:gd name="connsiteX4" fmla="*/ 100012 w 426243"/>
                  <a:gd name="connsiteY4" fmla="*/ 0 h 295274"/>
                  <a:gd name="connsiteX0" fmla="*/ 71437 w 397668"/>
                  <a:gd name="connsiteY0" fmla="*/ 0 h 295274"/>
                  <a:gd name="connsiteX1" fmla="*/ 397668 w 397668"/>
                  <a:gd name="connsiteY1" fmla="*/ 173831 h 295274"/>
                  <a:gd name="connsiteX2" fmla="*/ 316707 w 397668"/>
                  <a:gd name="connsiteY2" fmla="*/ 295274 h 295274"/>
                  <a:gd name="connsiteX3" fmla="*/ 0 w 397668"/>
                  <a:gd name="connsiteY3" fmla="*/ 107156 h 295274"/>
                  <a:gd name="connsiteX4" fmla="*/ 71437 w 397668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7655"/>
                  <a:gd name="connsiteX1" fmla="*/ 407193 w 407193"/>
                  <a:gd name="connsiteY1" fmla="*/ 173831 h 297655"/>
                  <a:gd name="connsiteX2" fmla="*/ 323851 w 407193"/>
                  <a:gd name="connsiteY2" fmla="*/ 297655 h 297655"/>
                  <a:gd name="connsiteX3" fmla="*/ 0 w 407193"/>
                  <a:gd name="connsiteY3" fmla="*/ 119062 h 297655"/>
                  <a:gd name="connsiteX4" fmla="*/ 80962 w 407193"/>
                  <a:gd name="connsiteY4" fmla="*/ 0 h 297655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193" h="309561">
                    <a:moveTo>
                      <a:pt x="83344" y="0"/>
                    </a:moveTo>
                    <a:cubicBezTo>
                      <a:pt x="220663" y="47625"/>
                      <a:pt x="286541" y="76199"/>
                      <a:pt x="407193" y="185737"/>
                    </a:cubicBezTo>
                    <a:lnTo>
                      <a:pt x="323851" y="309561"/>
                    </a:lnTo>
                    <a:cubicBezTo>
                      <a:pt x="288926" y="246854"/>
                      <a:pt x="127795" y="148430"/>
                      <a:pt x="0" y="130968"/>
                    </a:cubicBezTo>
                    <a:cubicBezTo>
                      <a:pt x="50799" y="103187"/>
                      <a:pt x="77789" y="53974"/>
                      <a:pt x="83344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" name="Rectangle 6"/>
              <p:cNvSpPr/>
              <p:nvPr/>
            </p:nvSpPr>
            <p:spPr>
              <a:xfrm rot="1800000">
                <a:off x="3887126" y="2212407"/>
                <a:ext cx="190770" cy="25373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  <a:gd name="connsiteX0" fmla="*/ 49005 w 520302"/>
                  <a:gd name="connsiteY0" fmla="*/ 0 h 548528"/>
                  <a:gd name="connsiteX1" fmla="*/ 520302 w 520302"/>
                  <a:gd name="connsiteY1" fmla="*/ 340068 h 548528"/>
                  <a:gd name="connsiteX2" fmla="*/ 391995 w 520302"/>
                  <a:gd name="connsiteY2" fmla="*/ 548528 h 548528"/>
                  <a:gd name="connsiteX3" fmla="*/ 0 w 520302"/>
                  <a:gd name="connsiteY3" fmla="*/ 148532 h 548528"/>
                  <a:gd name="connsiteX4" fmla="*/ 49005 w 520302"/>
                  <a:gd name="connsiteY4" fmla="*/ 0 h 548528"/>
                  <a:gd name="connsiteX0" fmla="*/ 49005 w 444358"/>
                  <a:gd name="connsiteY0" fmla="*/ 0 h 548528"/>
                  <a:gd name="connsiteX1" fmla="*/ 444358 w 444358"/>
                  <a:gd name="connsiteY1" fmla="*/ 265680 h 548528"/>
                  <a:gd name="connsiteX2" fmla="*/ 391995 w 444358"/>
                  <a:gd name="connsiteY2" fmla="*/ 548528 h 548528"/>
                  <a:gd name="connsiteX3" fmla="*/ 0 w 444358"/>
                  <a:gd name="connsiteY3" fmla="*/ 148532 h 548528"/>
                  <a:gd name="connsiteX4" fmla="*/ 49005 w 444358"/>
                  <a:gd name="connsiteY4" fmla="*/ 0 h 548528"/>
                  <a:gd name="connsiteX0" fmla="*/ 49005 w 448802"/>
                  <a:gd name="connsiteY0" fmla="*/ 0 h 548528"/>
                  <a:gd name="connsiteX1" fmla="*/ 448802 w 448802"/>
                  <a:gd name="connsiteY1" fmla="*/ 268615 h 548528"/>
                  <a:gd name="connsiteX2" fmla="*/ 391995 w 448802"/>
                  <a:gd name="connsiteY2" fmla="*/ 548528 h 548528"/>
                  <a:gd name="connsiteX3" fmla="*/ 0 w 448802"/>
                  <a:gd name="connsiteY3" fmla="*/ 148532 h 548528"/>
                  <a:gd name="connsiteX4" fmla="*/ 49005 w 44880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942" h="545275">
                    <a:moveTo>
                      <a:pt x="2272" y="0"/>
                    </a:moveTo>
                    <a:cubicBezTo>
                      <a:pt x="137358" y="21813"/>
                      <a:pt x="292369" y="121357"/>
                      <a:pt x="402942" y="265362"/>
                    </a:cubicBezTo>
                    <a:cubicBezTo>
                      <a:pt x="366267" y="288253"/>
                      <a:pt x="324638" y="459732"/>
                      <a:pt x="346135" y="545275"/>
                    </a:cubicBezTo>
                    <a:cubicBezTo>
                      <a:pt x="317459" y="439900"/>
                      <a:pt x="136363" y="189232"/>
                      <a:pt x="0" y="162797"/>
                    </a:cubicBezTo>
                    <a:cubicBezTo>
                      <a:pt x="1048" y="107447"/>
                      <a:pt x="1224" y="55350"/>
                      <a:pt x="2272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" name="Rectangle 7"/>
              <p:cNvSpPr/>
              <p:nvPr/>
            </p:nvSpPr>
            <p:spPr>
              <a:xfrm>
                <a:off x="3327366" y="2502665"/>
                <a:ext cx="426376" cy="304302"/>
              </a:xfrm>
              <a:custGeom>
                <a:avLst/>
                <a:gdLst>
                  <a:gd name="connsiteX0" fmla="*/ 0 w 45719"/>
                  <a:gd name="connsiteY0" fmla="*/ 0 h 296052"/>
                  <a:gd name="connsiteX1" fmla="*/ 45719 w 45719"/>
                  <a:gd name="connsiteY1" fmla="*/ 0 h 296052"/>
                  <a:gd name="connsiteX2" fmla="*/ 45719 w 45719"/>
                  <a:gd name="connsiteY2" fmla="*/ 296052 h 296052"/>
                  <a:gd name="connsiteX3" fmla="*/ 0 w 45719"/>
                  <a:gd name="connsiteY3" fmla="*/ 296052 h 296052"/>
                  <a:gd name="connsiteX4" fmla="*/ 0 w 45719"/>
                  <a:gd name="connsiteY4" fmla="*/ 0 h 296052"/>
                  <a:gd name="connsiteX0" fmla="*/ 0 w 355282"/>
                  <a:gd name="connsiteY0" fmla="*/ 0 h 343677"/>
                  <a:gd name="connsiteX1" fmla="*/ 355282 w 355282"/>
                  <a:gd name="connsiteY1" fmla="*/ 47625 h 343677"/>
                  <a:gd name="connsiteX2" fmla="*/ 355282 w 355282"/>
                  <a:gd name="connsiteY2" fmla="*/ 343677 h 343677"/>
                  <a:gd name="connsiteX3" fmla="*/ 309563 w 355282"/>
                  <a:gd name="connsiteY3" fmla="*/ 343677 h 343677"/>
                  <a:gd name="connsiteX4" fmla="*/ 0 w 355282"/>
                  <a:gd name="connsiteY4" fmla="*/ 0 h 343677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309563 w 905350"/>
                  <a:gd name="connsiteY3" fmla="*/ 343677 h 665146"/>
                  <a:gd name="connsiteX4" fmla="*/ 0 w 905350"/>
                  <a:gd name="connsiteY4" fmla="*/ 0 h 665146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0 w 905350"/>
                  <a:gd name="connsiteY3" fmla="*/ 0 h 665146"/>
                  <a:gd name="connsiteX0" fmla="*/ 0 w 905350"/>
                  <a:gd name="connsiteY0" fmla="*/ 0 h 665286"/>
                  <a:gd name="connsiteX1" fmla="*/ 355282 w 905350"/>
                  <a:gd name="connsiteY1" fmla="*/ 47625 h 665286"/>
                  <a:gd name="connsiteX2" fmla="*/ 905350 w 905350"/>
                  <a:gd name="connsiteY2" fmla="*/ 665146 h 665286"/>
                  <a:gd name="connsiteX3" fmla="*/ 0 w 905350"/>
                  <a:gd name="connsiteY3" fmla="*/ 0 h 665286"/>
                  <a:gd name="connsiteX0" fmla="*/ 0 w 902969"/>
                  <a:gd name="connsiteY0" fmla="*/ 0 h 658144"/>
                  <a:gd name="connsiteX1" fmla="*/ 355282 w 902969"/>
                  <a:gd name="connsiteY1" fmla="*/ 47625 h 658144"/>
                  <a:gd name="connsiteX2" fmla="*/ 902969 w 902969"/>
                  <a:gd name="connsiteY2" fmla="*/ 658002 h 658144"/>
                  <a:gd name="connsiteX3" fmla="*/ 0 w 902969"/>
                  <a:gd name="connsiteY3" fmla="*/ 0 h 658144"/>
                  <a:gd name="connsiteX0" fmla="*/ 0 w 895825"/>
                  <a:gd name="connsiteY0" fmla="*/ 0 h 660525"/>
                  <a:gd name="connsiteX1" fmla="*/ 348138 w 895825"/>
                  <a:gd name="connsiteY1" fmla="*/ 50007 h 660525"/>
                  <a:gd name="connsiteX2" fmla="*/ 895825 w 895825"/>
                  <a:gd name="connsiteY2" fmla="*/ 660384 h 660525"/>
                  <a:gd name="connsiteX3" fmla="*/ 0 w 895825"/>
                  <a:gd name="connsiteY3" fmla="*/ 0 h 660525"/>
                  <a:gd name="connsiteX0" fmla="*/ 0 w 895825"/>
                  <a:gd name="connsiteY0" fmla="*/ 0 h 660561"/>
                  <a:gd name="connsiteX1" fmla="*/ 348138 w 895825"/>
                  <a:gd name="connsiteY1" fmla="*/ 50007 h 660561"/>
                  <a:gd name="connsiteX2" fmla="*/ 895825 w 895825"/>
                  <a:gd name="connsiteY2" fmla="*/ 660384 h 660561"/>
                  <a:gd name="connsiteX3" fmla="*/ 0 w 895825"/>
                  <a:gd name="connsiteY3" fmla="*/ 0 h 660561"/>
                  <a:gd name="connsiteX0" fmla="*/ 0 w 895825"/>
                  <a:gd name="connsiteY0" fmla="*/ 0 h 660426"/>
                  <a:gd name="connsiteX1" fmla="*/ 348138 w 895825"/>
                  <a:gd name="connsiteY1" fmla="*/ 50007 h 660426"/>
                  <a:gd name="connsiteX2" fmla="*/ 895825 w 895825"/>
                  <a:gd name="connsiteY2" fmla="*/ 660384 h 660426"/>
                  <a:gd name="connsiteX3" fmla="*/ 0 w 895825"/>
                  <a:gd name="connsiteY3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900587"/>
                  <a:gd name="connsiteY0" fmla="*/ 0 h 653284"/>
                  <a:gd name="connsiteX1" fmla="*/ 900587 w 900587"/>
                  <a:gd name="connsiteY1" fmla="*/ 653241 h 653284"/>
                  <a:gd name="connsiteX2" fmla="*/ 0 w 900587"/>
                  <a:gd name="connsiteY2" fmla="*/ 0 h 653284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0587" h="653951">
                    <a:moveTo>
                      <a:pt x="0" y="0"/>
                    </a:moveTo>
                    <a:cubicBezTo>
                      <a:pt x="115251" y="279659"/>
                      <a:pt x="432910" y="642663"/>
                      <a:pt x="900587" y="653241"/>
                    </a:cubicBezTo>
                    <a:cubicBezTo>
                      <a:pt x="420210" y="672031"/>
                      <a:pt x="80327" y="314584"/>
                      <a:pt x="0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9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29" name="Rectangle 163"/>
            <p:cNvSpPr>
              <a:spLocks noChangeArrowheads="1"/>
            </p:cNvSpPr>
            <p:nvPr/>
          </p:nvSpPr>
          <p:spPr bwMode="auto">
            <a:xfrm>
              <a:off x="2633577" y="1235214"/>
              <a:ext cx="392091" cy="4934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>
                <a:defRPr/>
              </a:pPr>
              <a:r>
                <a:rPr lang="en-US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ＭＳ Ｐゴシック" pitchFamily="1" charset="-128"/>
                  <a:cs typeface="Arial" pitchFamily="34" charset="0"/>
                </a:rPr>
                <a:t>Q</a:t>
              </a:r>
            </a:p>
          </p:txBody>
        </p:sp>
        <p:sp>
          <p:nvSpPr>
            <p:cNvPr id="330" name="Oval 329"/>
            <p:cNvSpPr/>
            <p:nvPr/>
          </p:nvSpPr>
          <p:spPr>
            <a:xfrm>
              <a:off x="2679884" y="1278191"/>
              <a:ext cx="295249" cy="198738"/>
            </a:xfrm>
            <a:prstGeom prst="ellipse">
              <a:avLst/>
            </a:prstGeom>
            <a:gradFill>
              <a:gsLst>
                <a:gs pos="100000">
                  <a:sysClr val="window" lastClr="FFFFFF">
                    <a:alpha val="0"/>
                  </a:sysClr>
                </a:gs>
                <a:gs pos="0">
                  <a:srgbClr val="009187">
                    <a:lumMod val="20000"/>
                    <a:lumOff val="80000"/>
                  </a:srgbClr>
                </a:gs>
              </a:gsLst>
              <a:lin ang="5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b="1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778" name="Group 342"/>
          <p:cNvGrpSpPr>
            <a:grpSpLocks/>
          </p:cNvGrpSpPr>
          <p:nvPr/>
        </p:nvGrpSpPr>
        <p:grpSpPr bwMode="auto">
          <a:xfrm>
            <a:off x="990600" y="3876675"/>
            <a:ext cx="849313" cy="171450"/>
            <a:chOff x="948318" y="5193775"/>
            <a:chExt cx="849492" cy="228600"/>
          </a:xfrm>
        </p:grpSpPr>
        <p:grpSp>
          <p:nvGrpSpPr>
            <p:cNvPr id="344" name="Group 343"/>
            <p:cNvGrpSpPr/>
            <p:nvPr/>
          </p:nvGrpSpPr>
          <p:grpSpPr>
            <a:xfrm>
              <a:off x="948318" y="5193775"/>
              <a:ext cx="55806" cy="228600"/>
              <a:chOff x="3257137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63" name="Freeform 362"/>
              <p:cNvSpPr/>
              <p:nvPr/>
            </p:nvSpPr>
            <p:spPr>
              <a:xfrm>
                <a:off x="3257148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64" name="Round Same Side Corner Rectangle 363"/>
              <p:cNvSpPr/>
              <p:nvPr/>
            </p:nvSpPr>
            <p:spPr>
              <a:xfrm rot="10800000">
                <a:off x="3257137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345" name="Group 344"/>
            <p:cNvGrpSpPr/>
            <p:nvPr/>
          </p:nvGrpSpPr>
          <p:grpSpPr>
            <a:xfrm>
              <a:off x="1080599" y="5193775"/>
              <a:ext cx="55806" cy="228600"/>
              <a:chOff x="3392416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61" name="Freeform 360"/>
              <p:cNvSpPr/>
              <p:nvPr/>
            </p:nvSpPr>
            <p:spPr>
              <a:xfrm>
                <a:off x="3392427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62" name="Round Same Side Corner Rectangle 361"/>
              <p:cNvSpPr/>
              <p:nvPr/>
            </p:nvSpPr>
            <p:spPr>
              <a:xfrm rot="10800000">
                <a:off x="3392416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346" name="Group 345"/>
            <p:cNvGrpSpPr/>
            <p:nvPr/>
          </p:nvGrpSpPr>
          <p:grpSpPr>
            <a:xfrm>
              <a:off x="1212880" y="5193775"/>
              <a:ext cx="55806" cy="228600"/>
              <a:chOff x="3527695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59" name="Freeform 358"/>
              <p:cNvSpPr/>
              <p:nvPr/>
            </p:nvSpPr>
            <p:spPr>
              <a:xfrm>
                <a:off x="3527706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60" name="Round Same Side Corner Rectangle 359"/>
              <p:cNvSpPr/>
              <p:nvPr/>
            </p:nvSpPr>
            <p:spPr>
              <a:xfrm rot="10800000">
                <a:off x="3527695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347" name="Group 346"/>
            <p:cNvGrpSpPr/>
            <p:nvPr/>
          </p:nvGrpSpPr>
          <p:grpSpPr>
            <a:xfrm>
              <a:off x="1345161" y="5193775"/>
              <a:ext cx="55806" cy="228600"/>
              <a:chOff x="3662974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57" name="Freeform 356"/>
              <p:cNvSpPr/>
              <p:nvPr/>
            </p:nvSpPr>
            <p:spPr>
              <a:xfrm>
                <a:off x="3662985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58" name="Round Same Side Corner Rectangle 357"/>
              <p:cNvSpPr/>
              <p:nvPr/>
            </p:nvSpPr>
            <p:spPr>
              <a:xfrm rot="10800000">
                <a:off x="3662974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348" name="Group 347"/>
            <p:cNvGrpSpPr/>
            <p:nvPr/>
          </p:nvGrpSpPr>
          <p:grpSpPr>
            <a:xfrm>
              <a:off x="1477442" y="5193775"/>
              <a:ext cx="55806" cy="228600"/>
              <a:chOff x="3798253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55" name="Freeform 354"/>
              <p:cNvSpPr/>
              <p:nvPr/>
            </p:nvSpPr>
            <p:spPr>
              <a:xfrm>
                <a:off x="3798264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56" name="Round Same Side Corner Rectangle 355"/>
              <p:cNvSpPr/>
              <p:nvPr/>
            </p:nvSpPr>
            <p:spPr>
              <a:xfrm rot="10800000">
                <a:off x="3798253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349" name="Group 348"/>
            <p:cNvGrpSpPr/>
            <p:nvPr/>
          </p:nvGrpSpPr>
          <p:grpSpPr>
            <a:xfrm>
              <a:off x="1609723" y="5193775"/>
              <a:ext cx="55806" cy="228600"/>
              <a:chOff x="3933532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53" name="Freeform 352"/>
              <p:cNvSpPr/>
              <p:nvPr/>
            </p:nvSpPr>
            <p:spPr>
              <a:xfrm>
                <a:off x="3933543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54" name="Round Same Side Corner Rectangle 353"/>
              <p:cNvSpPr/>
              <p:nvPr/>
            </p:nvSpPr>
            <p:spPr>
              <a:xfrm rot="10800000">
                <a:off x="3933532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  <p:grpSp>
          <p:nvGrpSpPr>
            <p:cNvPr id="350" name="Group 349"/>
            <p:cNvGrpSpPr/>
            <p:nvPr/>
          </p:nvGrpSpPr>
          <p:grpSpPr>
            <a:xfrm>
              <a:off x="1742004" y="5193775"/>
              <a:ext cx="55806" cy="228600"/>
              <a:chOff x="4068811" y="3500351"/>
              <a:chExt cx="55806" cy="228600"/>
            </a:xfrm>
            <a:scene3d>
              <a:camera prst="orthographicFront"/>
              <a:lightRig rig="threePt" dir="t">
                <a:rot lat="0" lon="0" rev="7800000"/>
              </a:lightRig>
            </a:scene3d>
          </p:grpSpPr>
          <p:sp>
            <p:nvSpPr>
              <p:cNvPr id="351" name="Freeform 350"/>
              <p:cNvSpPr/>
              <p:nvPr/>
            </p:nvSpPr>
            <p:spPr>
              <a:xfrm>
                <a:off x="4068822" y="3606711"/>
                <a:ext cx="55795" cy="122240"/>
              </a:xfrm>
              <a:custGeom>
                <a:avLst/>
                <a:gdLst>
                  <a:gd name="connsiteX0" fmla="*/ 55784 w 55795"/>
                  <a:gd name="connsiteY0" fmla="*/ 0 h 122240"/>
                  <a:gd name="connsiteX1" fmla="*/ 55795 w 55795"/>
                  <a:gd name="connsiteY1" fmla="*/ 0 h 122240"/>
                  <a:gd name="connsiteX2" fmla="*/ 55795 w 55795"/>
                  <a:gd name="connsiteY2" fmla="*/ 122240 h 122240"/>
                  <a:gd name="connsiteX3" fmla="*/ 0 w 55795"/>
                  <a:gd name="connsiteY3" fmla="*/ 122240 h 122240"/>
                  <a:gd name="connsiteX4" fmla="*/ 0 w 55795"/>
                  <a:gd name="connsiteY4" fmla="*/ 6708 h 122240"/>
                  <a:gd name="connsiteX5" fmla="*/ 8159 w 55795"/>
                  <a:gd name="connsiteY5" fmla="*/ 26406 h 122240"/>
                  <a:gd name="connsiteX6" fmla="*/ 27886 w 55795"/>
                  <a:gd name="connsiteY6" fmla="*/ 34577 h 122240"/>
                  <a:gd name="connsiteX7" fmla="*/ 55784 w 55795"/>
                  <a:gd name="connsiteY7" fmla="*/ 6679 h 122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795" h="122240">
                    <a:moveTo>
                      <a:pt x="55784" y="0"/>
                    </a:moveTo>
                    <a:lnTo>
                      <a:pt x="55795" y="0"/>
                    </a:lnTo>
                    <a:lnTo>
                      <a:pt x="55795" y="122240"/>
                    </a:lnTo>
                    <a:lnTo>
                      <a:pt x="0" y="122240"/>
                    </a:lnTo>
                    <a:lnTo>
                      <a:pt x="0" y="6708"/>
                    </a:lnTo>
                    <a:lnTo>
                      <a:pt x="8159" y="26406"/>
                    </a:lnTo>
                    <a:cubicBezTo>
                      <a:pt x="13208" y="31455"/>
                      <a:pt x="20182" y="34577"/>
                      <a:pt x="27886" y="34577"/>
                    </a:cubicBezTo>
                    <a:cubicBezTo>
                      <a:pt x="43294" y="34577"/>
                      <a:pt x="55784" y="22087"/>
                      <a:pt x="55784" y="6679"/>
                    </a:cubicBezTo>
                    <a:close/>
                  </a:path>
                </a:pathLst>
              </a:cu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  <p:sp>
            <p:nvSpPr>
              <p:cNvPr id="352" name="Round Same Side Corner Rectangle 351"/>
              <p:cNvSpPr/>
              <p:nvPr/>
            </p:nvSpPr>
            <p:spPr>
              <a:xfrm rot="10800000">
                <a:off x="4068811" y="3500351"/>
                <a:ext cx="55795" cy="14093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0000">
                  <a:lumMod val="65000"/>
                  <a:lumOff val="35000"/>
                </a:srgbClr>
              </a:solidFill>
              <a:ln w="9525" cap="flat" cmpd="sng" algn="ctr">
                <a:noFill/>
                <a:prstDash val="solid"/>
              </a:ln>
              <a:effectLst/>
              <a:sp3d prstMaterial="plastic">
                <a:bevelT w="25400" h="12700"/>
              </a:sp3d>
            </p:spPr>
            <p:txBody>
              <a:bodyPr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Open Sans"/>
                  <a:cs typeface="Arial" pitchFamily="34" charset="0"/>
                </a:endParaRPr>
              </a:p>
            </p:txBody>
          </p:sp>
        </p:grpSp>
      </p:grpSp>
      <p:sp>
        <p:nvSpPr>
          <p:cNvPr id="365" name="Right Arrow 364"/>
          <p:cNvSpPr/>
          <p:nvPr/>
        </p:nvSpPr>
        <p:spPr>
          <a:xfrm>
            <a:off x="929216" y="3692140"/>
            <a:ext cx="1148966" cy="280963"/>
          </a:xfrm>
          <a:prstGeom prst="rightArrow">
            <a:avLst/>
          </a:prstGeom>
          <a:solidFill>
            <a:srgbClr val="000000">
              <a:lumMod val="65000"/>
              <a:lumOff val="35000"/>
            </a:srgbClr>
          </a:solidFill>
          <a:ln w="0" cap="flat" cmpd="sng" algn="ctr">
            <a:noFill/>
            <a:prstDash val="solid"/>
          </a:ln>
          <a:effectLst/>
          <a:scene3d>
            <a:camera prst="perspectiveBelow" fov="2700000"/>
            <a:lightRig rig="threePt" dir="t">
              <a:rot lat="0" lon="0" rev="3600000"/>
            </a:lightRig>
          </a:scene3d>
          <a:sp3d extrusionH="127000" contourW="6350" prstMaterial="plastic">
            <a:bevelT w="25400" h="127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6" name="Rectangle 365"/>
          <p:cNvSpPr>
            <a:spLocks noChangeArrowheads="1"/>
          </p:cNvSpPr>
          <p:nvPr/>
        </p:nvSpPr>
        <p:spPr bwMode="auto">
          <a:xfrm>
            <a:off x="3814763" y="3214688"/>
            <a:ext cx="1339850" cy="3000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AU" sz="1600" b="1" i="1" kern="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lex</a:t>
            </a:r>
            <a:r>
              <a:rPr lang="en-AU" sz="1600" i="1" kern="0" dirty="0" err="1">
                <a:solidFill>
                  <a:srgbClr val="003D46"/>
                </a:solidFill>
                <a:latin typeface="Arial" pitchFamily="34" charset="0"/>
                <a:cs typeface="Arial" pitchFamily="34" charset="0"/>
              </a:rPr>
              <a:t>Zyme</a:t>
            </a:r>
            <a:endParaRPr lang="en-US" sz="1600" kern="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7" name="Right Arrow 366"/>
          <p:cNvSpPr/>
          <p:nvPr/>
        </p:nvSpPr>
        <p:spPr>
          <a:xfrm rot="2400000">
            <a:off x="3367435" y="1652302"/>
            <a:ext cx="906497" cy="147497"/>
          </a:xfrm>
          <a:prstGeom prst="rightArrow">
            <a:avLst/>
          </a:prstGeom>
          <a:gradFill flip="none" rotWithShape="1">
            <a:gsLst>
              <a:gs pos="0">
                <a:srgbClr val="FFFFFF">
                  <a:lumMod val="95000"/>
                  <a:alpha val="0"/>
                </a:srgbClr>
              </a:gs>
              <a:gs pos="50000">
                <a:srgbClr val="B9B9B9"/>
              </a:gs>
              <a:gs pos="100000">
                <a:sysClr val="window" lastClr="FFFFFF">
                  <a:lumMod val="50000"/>
                </a:sys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Open Sans"/>
              <a:cs typeface="Arial" pitchFamily="34" charset="0"/>
            </a:endParaRPr>
          </a:p>
        </p:txBody>
      </p:sp>
      <p:sp>
        <p:nvSpPr>
          <p:cNvPr id="375" name="Right Arrow 374"/>
          <p:cNvSpPr/>
          <p:nvPr/>
        </p:nvSpPr>
        <p:spPr>
          <a:xfrm rot="19200000" flipV="1">
            <a:off x="4865833" y="1652302"/>
            <a:ext cx="906497" cy="147497"/>
          </a:xfrm>
          <a:prstGeom prst="rightArrow">
            <a:avLst/>
          </a:prstGeom>
          <a:gradFill flip="none" rotWithShape="1">
            <a:gsLst>
              <a:gs pos="0">
                <a:srgbClr val="FFFFFF">
                  <a:lumMod val="95000"/>
                  <a:alpha val="0"/>
                </a:srgbClr>
              </a:gs>
              <a:gs pos="50000">
                <a:srgbClr val="B9B9B9"/>
              </a:gs>
              <a:gs pos="100000">
                <a:sysClr val="window" lastClr="FFFFFF">
                  <a:lumMod val="50000"/>
                </a:sys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Open Sans"/>
              <a:cs typeface="Arial" pitchFamily="34" charset="0"/>
            </a:endParaRPr>
          </a:p>
        </p:txBody>
      </p:sp>
      <p:sp>
        <p:nvSpPr>
          <p:cNvPr id="32787" name="Rectangle 90"/>
          <p:cNvSpPr>
            <a:spLocks noChangeArrowheads="1"/>
          </p:cNvSpPr>
          <p:nvPr/>
        </p:nvSpPr>
        <p:spPr bwMode="auto">
          <a:xfrm>
            <a:off x="1276350" y="758825"/>
            <a:ext cx="15065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smtClean="0">
                <a:solidFill>
                  <a:srgbClr val="006666"/>
                </a:solidFill>
                <a:latin typeface="Arial" pitchFamily="34" charset="0"/>
                <a:cs typeface="Arial" pitchFamily="34" charset="0"/>
              </a:rPr>
              <a:t>Universal probe</a:t>
            </a:r>
          </a:p>
        </p:txBody>
      </p:sp>
      <p:sp>
        <p:nvSpPr>
          <p:cNvPr id="32788" name="Rectangle 11"/>
          <p:cNvSpPr>
            <a:spLocks noChangeArrowheads="1"/>
          </p:cNvSpPr>
          <p:nvPr/>
        </p:nvSpPr>
        <p:spPr bwMode="auto">
          <a:xfrm>
            <a:off x="2333625" y="4154488"/>
            <a:ext cx="44767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i="1" smtClean="0">
                <a:solidFill>
                  <a:srgbClr val="595959"/>
                </a:solidFill>
                <a:cs typeface="Arial" pitchFamily="34" charset="0"/>
              </a:rPr>
              <a:t>Target amplicon</a:t>
            </a:r>
          </a:p>
        </p:txBody>
      </p:sp>
      <p:sp>
        <p:nvSpPr>
          <p:cNvPr id="32789" name="Rectangle 2"/>
          <p:cNvSpPr txBox="1">
            <a:spLocks noChangeArrowheads="1"/>
          </p:cNvSpPr>
          <p:nvPr/>
        </p:nvSpPr>
        <p:spPr bwMode="auto">
          <a:xfrm>
            <a:off x="-3175" y="4527550"/>
            <a:ext cx="914400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b="1" smtClean="0">
                <a:solidFill>
                  <a:srgbClr val="EC000F"/>
                </a:solidFill>
                <a:latin typeface="Open Sans"/>
              </a:rPr>
              <a:t>High Specificity, High Sensitivity, Universal Probe</a:t>
            </a:r>
            <a:endParaRPr lang="en-AU" b="1" smtClean="0">
              <a:solidFill>
                <a:srgbClr val="EC000F"/>
              </a:solidFill>
              <a:latin typeface="Open Sans"/>
            </a:endParaRPr>
          </a:p>
        </p:txBody>
      </p:sp>
      <p:sp>
        <p:nvSpPr>
          <p:cNvPr id="380" name="Rectangle 319"/>
          <p:cNvSpPr>
            <a:spLocks noChangeArrowheads="1"/>
          </p:cNvSpPr>
          <p:nvPr/>
        </p:nvSpPr>
        <p:spPr bwMode="auto">
          <a:xfrm>
            <a:off x="708025" y="4886325"/>
            <a:ext cx="4187825" cy="2460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en-AU" sz="1000" b="1" i="1" kern="0" dirty="0">
                <a:solidFill>
                  <a:srgbClr val="808080">
                    <a:lumMod val="75000"/>
                  </a:srgbClr>
                </a:solidFill>
                <a:cs typeface="Arial" pitchFamily="34" charset="0"/>
              </a:rPr>
              <a:t>Mokany et al JACS (2010) &amp; Clin Chem (2013) </a:t>
            </a:r>
          </a:p>
        </p:txBody>
      </p:sp>
      <p:sp>
        <p:nvSpPr>
          <p:cNvPr id="381" name="Rectangle 257"/>
          <p:cNvSpPr>
            <a:spLocks noChangeArrowheads="1"/>
          </p:cNvSpPr>
          <p:nvPr/>
        </p:nvSpPr>
        <p:spPr bwMode="auto">
          <a:xfrm>
            <a:off x="812076" y="4084739"/>
            <a:ext cx="6552000" cy="135000"/>
          </a:xfrm>
          <a:prstGeom prst="rect">
            <a:avLst/>
          </a:prstGeom>
          <a:solidFill>
            <a:sysClr val="window" lastClr="FFFFFF">
              <a:lumMod val="65000"/>
            </a:sysClr>
          </a:solidFill>
          <a:ln w="1905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 fov="2700000"/>
            <a:lightRig rig="threePt" dir="t">
              <a:rot lat="0" lon="0" rev="3600000"/>
            </a:lightRig>
          </a:scene3d>
          <a:sp3d extrusionH="127000" contourW="6350" prstMaterial="plastic">
            <a:bevelT w="38100" h="254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AU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2" name="Right Arrow 381"/>
          <p:cNvSpPr/>
          <p:nvPr/>
        </p:nvSpPr>
        <p:spPr>
          <a:xfrm flipH="1">
            <a:off x="7172816" y="4013742"/>
            <a:ext cx="1104427" cy="270000"/>
          </a:xfrm>
          <a:prstGeom prst="rightArrow">
            <a:avLst/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 fov="2700000"/>
            <a:lightRig rig="threePt" dir="t">
              <a:rot lat="0" lon="0" rev="3600000"/>
            </a:lightRig>
          </a:scene3d>
          <a:sp3d extrusionH="127000" contourW="6350" prstMaterial="plastic">
            <a:bevelT w="38100" h="254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383" name="Group 382"/>
          <p:cNvGrpSpPr/>
          <p:nvPr/>
        </p:nvGrpSpPr>
        <p:grpSpPr>
          <a:xfrm>
            <a:off x="1179690" y="2448228"/>
            <a:ext cx="1124723" cy="105703"/>
            <a:chOff x="1114900" y="3254769"/>
            <a:chExt cx="1124723" cy="140937"/>
          </a:xfrm>
          <a:solidFill>
            <a:srgbClr val="EC1C29"/>
          </a:solidFill>
        </p:grpSpPr>
        <p:sp>
          <p:nvSpPr>
            <p:cNvPr id="384" name="Round Same Side Corner Rectangle 383"/>
            <p:cNvSpPr/>
            <p:nvPr/>
          </p:nvSpPr>
          <p:spPr>
            <a:xfrm rot="10800000" flipV="1">
              <a:off x="1114900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85" name="Round Same Side Corner Rectangle 384"/>
            <p:cNvSpPr/>
            <p:nvPr/>
          </p:nvSpPr>
          <p:spPr>
            <a:xfrm rot="10800000" flipV="1">
              <a:off x="1248516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86" name="Round Same Side Corner Rectangle 385"/>
            <p:cNvSpPr/>
            <p:nvPr/>
          </p:nvSpPr>
          <p:spPr>
            <a:xfrm rot="10800000" flipV="1">
              <a:off x="1382132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87" name="Round Same Side Corner Rectangle 386"/>
            <p:cNvSpPr/>
            <p:nvPr/>
          </p:nvSpPr>
          <p:spPr>
            <a:xfrm rot="10800000" flipV="1">
              <a:off x="1515748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88" name="Round Same Side Corner Rectangle 387"/>
            <p:cNvSpPr/>
            <p:nvPr/>
          </p:nvSpPr>
          <p:spPr>
            <a:xfrm rot="10800000" flipV="1">
              <a:off x="1649364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89" name="Round Same Side Corner Rectangle 388"/>
            <p:cNvSpPr/>
            <p:nvPr/>
          </p:nvSpPr>
          <p:spPr>
            <a:xfrm rot="10800000" flipV="1">
              <a:off x="1782980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0" name="Round Same Side Corner Rectangle 389"/>
            <p:cNvSpPr/>
            <p:nvPr/>
          </p:nvSpPr>
          <p:spPr>
            <a:xfrm rot="10800000" flipV="1">
              <a:off x="1916596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1" name="Round Same Side Corner Rectangle 390"/>
            <p:cNvSpPr/>
            <p:nvPr/>
          </p:nvSpPr>
          <p:spPr>
            <a:xfrm rot="10800000" flipV="1">
              <a:off x="2050212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2" name="Round Same Side Corner Rectangle 391"/>
            <p:cNvSpPr/>
            <p:nvPr/>
          </p:nvSpPr>
          <p:spPr>
            <a:xfrm rot="10800000" flipV="1">
              <a:off x="2183828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sp>
        <p:nvSpPr>
          <p:cNvPr id="393" name="Freeform 392"/>
          <p:cNvSpPr/>
          <p:nvPr/>
        </p:nvSpPr>
        <p:spPr>
          <a:xfrm>
            <a:off x="843782" y="2549461"/>
            <a:ext cx="1485358" cy="1016384"/>
          </a:xfrm>
          <a:custGeom>
            <a:avLst/>
            <a:gdLst>
              <a:gd name="connsiteX0" fmla="*/ 314693 w 1485358"/>
              <a:gd name="connsiteY0" fmla="*/ 0 h 1355178"/>
              <a:gd name="connsiteX1" fmla="*/ 1485358 w 1485358"/>
              <a:gd name="connsiteY1" fmla="*/ 0 h 1355178"/>
              <a:gd name="connsiteX2" fmla="*/ 1485358 w 1485358"/>
              <a:gd name="connsiteY2" fmla="*/ 148003 h 1355178"/>
              <a:gd name="connsiteX3" fmla="*/ 1482785 w 1485358"/>
              <a:gd name="connsiteY3" fmla="*/ 148003 h 1355178"/>
              <a:gd name="connsiteX4" fmla="*/ 1482826 w 1485358"/>
              <a:gd name="connsiteY4" fmla="*/ 148190 h 1355178"/>
              <a:gd name="connsiteX5" fmla="*/ 1114735 w 1485358"/>
              <a:gd name="connsiteY5" fmla="*/ 387517 h 1355178"/>
              <a:gd name="connsiteX6" fmla="*/ 1121671 w 1485358"/>
              <a:gd name="connsiteY6" fmla="*/ 977274 h 1355178"/>
              <a:gd name="connsiteX7" fmla="*/ 1385175 w 1485358"/>
              <a:gd name="connsiteY7" fmla="*/ 1178920 h 1355178"/>
              <a:gd name="connsiteX8" fmla="*/ 1485047 w 1485358"/>
              <a:gd name="connsiteY8" fmla="*/ 1206111 h 1355178"/>
              <a:gd name="connsiteX9" fmla="*/ 1485047 w 1485358"/>
              <a:gd name="connsiteY9" fmla="*/ 1355178 h 1355178"/>
              <a:gd name="connsiteX10" fmla="*/ 24668 w 1485358"/>
              <a:gd name="connsiteY10" fmla="*/ 1355178 h 1355178"/>
              <a:gd name="connsiteX11" fmla="*/ 0 w 1485358"/>
              <a:gd name="connsiteY11" fmla="*/ 1330510 h 1355178"/>
              <a:gd name="connsiteX12" fmla="*/ 0 w 1485358"/>
              <a:gd name="connsiteY12" fmla="*/ 1231843 h 1355178"/>
              <a:gd name="connsiteX13" fmla="*/ 24668 w 1485358"/>
              <a:gd name="connsiteY13" fmla="*/ 1207175 h 1355178"/>
              <a:gd name="connsiteX14" fmla="*/ 1114041 w 1485358"/>
              <a:gd name="connsiteY14" fmla="*/ 1205406 h 1355178"/>
              <a:gd name="connsiteX15" fmla="*/ 1045467 w 1485358"/>
              <a:gd name="connsiteY15" fmla="*/ 1140045 h 1355178"/>
              <a:gd name="connsiteX16" fmla="*/ 984605 w 1485358"/>
              <a:gd name="connsiteY16" fmla="*/ 1063637 h 1355178"/>
              <a:gd name="connsiteX17" fmla="*/ 975836 w 1485358"/>
              <a:gd name="connsiteY17" fmla="*/ 304146 h 1355178"/>
              <a:gd name="connsiteX18" fmla="*/ 1103706 w 1485358"/>
              <a:gd name="connsiteY18" fmla="*/ 157970 h 1355178"/>
              <a:gd name="connsiteX19" fmla="*/ 1116840 w 1485358"/>
              <a:gd name="connsiteY19" fmla="*/ 148003 h 1355178"/>
              <a:gd name="connsiteX20" fmla="*/ 314693 w 1485358"/>
              <a:gd name="connsiteY20" fmla="*/ 148003 h 1355178"/>
              <a:gd name="connsiteX21" fmla="*/ 290025 w 1485358"/>
              <a:gd name="connsiteY21" fmla="*/ 123335 h 1355178"/>
              <a:gd name="connsiteX22" fmla="*/ 290025 w 1485358"/>
              <a:gd name="connsiteY22" fmla="*/ 24668 h 1355178"/>
              <a:gd name="connsiteX23" fmla="*/ 314693 w 1485358"/>
              <a:gd name="connsiteY23" fmla="*/ 0 h 1355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85358" h="1355178">
                <a:moveTo>
                  <a:pt x="314693" y="0"/>
                </a:moveTo>
                <a:lnTo>
                  <a:pt x="1485358" y="0"/>
                </a:lnTo>
                <a:lnTo>
                  <a:pt x="1485358" y="148003"/>
                </a:lnTo>
                <a:lnTo>
                  <a:pt x="1482785" y="148003"/>
                </a:lnTo>
                <a:cubicBezTo>
                  <a:pt x="1482799" y="148065"/>
                  <a:pt x="1482812" y="148128"/>
                  <a:pt x="1482826" y="148190"/>
                </a:cubicBezTo>
                <a:cubicBezTo>
                  <a:pt x="1332934" y="177172"/>
                  <a:pt x="1199145" y="262238"/>
                  <a:pt x="1114735" y="387517"/>
                </a:cubicBezTo>
                <a:cubicBezTo>
                  <a:pt x="993098" y="568051"/>
                  <a:pt x="995817" y="799334"/>
                  <a:pt x="1121671" y="977274"/>
                </a:cubicBezTo>
                <a:cubicBezTo>
                  <a:pt x="1187060" y="1069727"/>
                  <a:pt x="1279601" y="1139068"/>
                  <a:pt x="1385175" y="1178920"/>
                </a:cubicBezTo>
                <a:lnTo>
                  <a:pt x="1485047" y="1206111"/>
                </a:lnTo>
                <a:lnTo>
                  <a:pt x="1485047" y="1355178"/>
                </a:lnTo>
                <a:lnTo>
                  <a:pt x="24668" y="1355178"/>
                </a:lnTo>
                <a:cubicBezTo>
                  <a:pt x="11044" y="1355178"/>
                  <a:pt x="0" y="1344134"/>
                  <a:pt x="0" y="1330510"/>
                </a:cubicBezTo>
                <a:lnTo>
                  <a:pt x="0" y="1231843"/>
                </a:lnTo>
                <a:cubicBezTo>
                  <a:pt x="0" y="1218219"/>
                  <a:pt x="11044" y="1207175"/>
                  <a:pt x="24668" y="1207175"/>
                </a:cubicBezTo>
                <a:lnTo>
                  <a:pt x="1114041" y="1205406"/>
                </a:lnTo>
                <a:lnTo>
                  <a:pt x="1045467" y="1140045"/>
                </a:lnTo>
                <a:cubicBezTo>
                  <a:pt x="1023563" y="1116134"/>
                  <a:pt x="1003208" y="1090634"/>
                  <a:pt x="984605" y="1063637"/>
                </a:cubicBezTo>
                <a:cubicBezTo>
                  <a:pt x="826347" y="833974"/>
                  <a:pt x="822920" y="537093"/>
                  <a:pt x="975836" y="304146"/>
                </a:cubicBezTo>
                <a:cubicBezTo>
                  <a:pt x="1011834" y="249308"/>
                  <a:pt x="1054993" y="200323"/>
                  <a:pt x="1103706" y="157970"/>
                </a:cubicBezTo>
                <a:lnTo>
                  <a:pt x="1116840" y="148003"/>
                </a:lnTo>
                <a:lnTo>
                  <a:pt x="314693" y="148003"/>
                </a:lnTo>
                <a:cubicBezTo>
                  <a:pt x="301069" y="148003"/>
                  <a:pt x="290025" y="136959"/>
                  <a:pt x="290025" y="123335"/>
                </a:cubicBezTo>
                <a:lnTo>
                  <a:pt x="290025" y="24668"/>
                </a:lnTo>
                <a:cubicBezTo>
                  <a:pt x="290025" y="11044"/>
                  <a:pt x="301069" y="0"/>
                  <a:pt x="314693" y="0"/>
                </a:cubicBezTo>
                <a:close/>
              </a:path>
            </a:pathLst>
          </a:custGeom>
          <a:solidFill>
            <a:srgbClr val="EC1C29"/>
          </a:solidFill>
          <a:ln w="127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  <a:scene3d>
            <a:camera prst="perspectiveBelow" fov="7200000">
              <a:rot lat="0" lon="0" rev="0"/>
            </a:camera>
            <a:lightRig rig="threePt" dir="t">
              <a:rot lat="0" lon="0" rev="7800000"/>
            </a:lightRig>
          </a:scene3d>
          <a:sp3d contourW="12700" prstMaterial="plastic">
            <a:bevelT w="38100" h="254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94" name="Group 393"/>
          <p:cNvGrpSpPr/>
          <p:nvPr/>
        </p:nvGrpSpPr>
        <p:grpSpPr>
          <a:xfrm>
            <a:off x="6842800" y="2448228"/>
            <a:ext cx="1124723" cy="105703"/>
            <a:chOff x="1114900" y="3254769"/>
            <a:chExt cx="1124723" cy="140937"/>
          </a:xfrm>
          <a:solidFill>
            <a:srgbClr val="EC1C29"/>
          </a:solidFill>
        </p:grpSpPr>
        <p:sp>
          <p:nvSpPr>
            <p:cNvPr id="395" name="Round Same Side Corner Rectangle 394"/>
            <p:cNvSpPr/>
            <p:nvPr/>
          </p:nvSpPr>
          <p:spPr>
            <a:xfrm rot="10800000" flipV="1">
              <a:off x="1114900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6" name="Round Same Side Corner Rectangle 395"/>
            <p:cNvSpPr/>
            <p:nvPr/>
          </p:nvSpPr>
          <p:spPr>
            <a:xfrm rot="10800000" flipV="1">
              <a:off x="1248516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7" name="Round Same Side Corner Rectangle 396"/>
            <p:cNvSpPr/>
            <p:nvPr/>
          </p:nvSpPr>
          <p:spPr>
            <a:xfrm rot="10800000" flipV="1">
              <a:off x="1382132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8" name="Round Same Side Corner Rectangle 397"/>
            <p:cNvSpPr/>
            <p:nvPr/>
          </p:nvSpPr>
          <p:spPr>
            <a:xfrm rot="10800000" flipV="1">
              <a:off x="1515748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399" name="Round Same Side Corner Rectangle 398"/>
            <p:cNvSpPr/>
            <p:nvPr/>
          </p:nvSpPr>
          <p:spPr>
            <a:xfrm rot="10800000" flipV="1">
              <a:off x="1649364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0" name="Round Same Side Corner Rectangle 399"/>
            <p:cNvSpPr/>
            <p:nvPr/>
          </p:nvSpPr>
          <p:spPr>
            <a:xfrm rot="10800000" flipV="1">
              <a:off x="1782980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1" name="Round Same Side Corner Rectangle 400"/>
            <p:cNvSpPr/>
            <p:nvPr/>
          </p:nvSpPr>
          <p:spPr>
            <a:xfrm rot="10800000" flipV="1">
              <a:off x="1916596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2" name="Round Same Side Corner Rectangle 401"/>
            <p:cNvSpPr/>
            <p:nvPr/>
          </p:nvSpPr>
          <p:spPr>
            <a:xfrm rot="10800000" flipV="1">
              <a:off x="2050212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3" name="Round Same Side Corner Rectangle 402"/>
            <p:cNvSpPr/>
            <p:nvPr/>
          </p:nvSpPr>
          <p:spPr>
            <a:xfrm rot="10800000" flipV="1">
              <a:off x="2183828" y="3254769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sp>
        <p:nvSpPr>
          <p:cNvPr id="404" name="Freeform 403"/>
          <p:cNvSpPr/>
          <p:nvPr/>
        </p:nvSpPr>
        <p:spPr>
          <a:xfrm flipH="1">
            <a:off x="6814860" y="2549461"/>
            <a:ext cx="1485358" cy="1016384"/>
          </a:xfrm>
          <a:custGeom>
            <a:avLst/>
            <a:gdLst>
              <a:gd name="connsiteX0" fmla="*/ 314693 w 1485358"/>
              <a:gd name="connsiteY0" fmla="*/ 0 h 1355178"/>
              <a:gd name="connsiteX1" fmla="*/ 1485358 w 1485358"/>
              <a:gd name="connsiteY1" fmla="*/ 0 h 1355178"/>
              <a:gd name="connsiteX2" fmla="*/ 1485358 w 1485358"/>
              <a:gd name="connsiteY2" fmla="*/ 148003 h 1355178"/>
              <a:gd name="connsiteX3" fmla="*/ 1482785 w 1485358"/>
              <a:gd name="connsiteY3" fmla="*/ 148003 h 1355178"/>
              <a:gd name="connsiteX4" fmla="*/ 1482826 w 1485358"/>
              <a:gd name="connsiteY4" fmla="*/ 148190 h 1355178"/>
              <a:gd name="connsiteX5" fmla="*/ 1114735 w 1485358"/>
              <a:gd name="connsiteY5" fmla="*/ 387517 h 1355178"/>
              <a:gd name="connsiteX6" fmla="*/ 1121671 w 1485358"/>
              <a:gd name="connsiteY6" fmla="*/ 977274 h 1355178"/>
              <a:gd name="connsiteX7" fmla="*/ 1385175 w 1485358"/>
              <a:gd name="connsiteY7" fmla="*/ 1178920 h 1355178"/>
              <a:gd name="connsiteX8" fmla="*/ 1485047 w 1485358"/>
              <a:gd name="connsiteY8" fmla="*/ 1206111 h 1355178"/>
              <a:gd name="connsiteX9" fmla="*/ 1485047 w 1485358"/>
              <a:gd name="connsiteY9" fmla="*/ 1355178 h 1355178"/>
              <a:gd name="connsiteX10" fmla="*/ 24668 w 1485358"/>
              <a:gd name="connsiteY10" fmla="*/ 1355178 h 1355178"/>
              <a:gd name="connsiteX11" fmla="*/ 0 w 1485358"/>
              <a:gd name="connsiteY11" fmla="*/ 1330510 h 1355178"/>
              <a:gd name="connsiteX12" fmla="*/ 0 w 1485358"/>
              <a:gd name="connsiteY12" fmla="*/ 1231843 h 1355178"/>
              <a:gd name="connsiteX13" fmla="*/ 24668 w 1485358"/>
              <a:gd name="connsiteY13" fmla="*/ 1207175 h 1355178"/>
              <a:gd name="connsiteX14" fmla="*/ 1114041 w 1485358"/>
              <a:gd name="connsiteY14" fmla="*/ 1205406 h 1355178"/>
              <a:gd name="connsiteX15" fmla="*/ 1045467 w 1485358"/>
              <a:gd name="connsiteY15" fmla="*/ 1140045 h 1355178"/>
              <a:gd name="connsiteX16" fmla="*/ 984605 w 1485358"/>
              <a:gd name="connsiteY16" fmla="*/ 1063637 h 1355178"/>
              <a:gd name="connsiteX17" fmla="*/ 975836 w 1485358"/>
              <a:gd name="connsiteY17" fmla="*/ 304146 h 1355178"/>
              <a:gd name="connsiteX18" fmla="*/ 1103706 w 1485358"/>
              <a:gd name="connsiteY18" fmla="*/ 157970 h 1355178"/>
              <a:gd name="connsiteX19" fmla="*/ 1116840 w 1485358"/>
              <a:gd name="connsiteY19" fmla="*/ 148003 h 1355178"/>
              <a:gd name="connsiteX20" fmla="*/ 314693 w 1485358"/>
              <a:gd name="connsiteY20" fmla="*/ 148003 h 1355178"/>
              <a:gd name="connsiteX21" fmla="*/ 290025 w 1485358"/>
              <a:gd name="connsiteY21" fmla="*/ 123335 h 1355178"/>
              <a:gd name="connsiteX22" fmla="*/ 290025 w 1485358"/>
              <a:gd name="connsiteY22" fmla="*/ 24668 h 1355178"/>
              <a:gd name="connsiteX23" fmla="*/ 314693 w 1485358"/>
              <a:gd name="connsiteY23" fmla="*/ 0 h 1355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85358" h="1355178">
                <a:moveTo>
                  <a:pt x="314693" y="0"/>
                </a:moveTo>
                <a:lnTo>
                  <a:pt x="1485358" y="0"/>
                </a:lnTo>
                <a:lnTo>
                  <a:pt x="1485358" y="148003"/>
                </a:lnTo>
                <a:lnTo>
                  <a:pt x="1482785" y="148003"/>
                </a:lnTo>
                <a:cubicBezTo>
                  <a:pt x="1482799" y="148065"/>
                  <a:pt x="1482812" y="148128"/>
                  <a:pt x="1482826" y="148190"/>
                </a:cubicBezTo>
                <a:cubicBezTo>
                  <a:pt x="1332934" y="177172"/>
                  <a:pt x="1199145" y="262238"/>
                  <a:pt x="1114735" y="387517"/>
                </a:cubicBezTo>
                <a:cubicBezTo>
                  <a:pt x="993098" y="568051"/>
                  <a:pt x="995817" y="799334"/>
                  <a:pt x="1121671" y="977274"/>
                </a:cubicBezTo>
                <a:cubicBezTo>
                  <a:pt x="1187060" y="1069727"/>
                  <a:pt x="1279601" y="1139068"/>
                  <a:pt x="1385175" y="1178920"/>
                </a:cubicBezTo>
                <a:lnTo>
                  <a:pt x="1485047" y="1206111"/>
                </a:lnTo>
                <a:lnTo>
                  <a:pt x="1485047" y="1355178"/>
                </a:lnTo>
                <a:lnTo>
                  <a:pt x="24668" y="1355178"/>
                </a:lnTo>
                <a:cubicBezTo>
                  <a:pt x="11044" y="1355178"/>
                  <a:pt x="0" y="1344134"/>
                  <a:pt x="0" y="1330510"/>
                </a:cubicBezTo>
                <a:lnTo>
                  <a:pt x="0" y="1231843"/>
                </a:lnTo>
                <a:cubicBezTo>
                  <a:pt x="0" y="1218219"/>
                  <a:pt x="11044" y="1207175"/>
                  <a:pt x="24668" y="1207175"/>
                </a:cubicBezTo>
                <a:lnTo>
                  <a:pt x="1114041" y="1205406"/>
                </a:lnTo>
                <a:lnTo>
                  <a:pt x="1045467" y="1140045"/>
                </a:lnTo>
                <a:cubicBezTo>
                  <a:pt x="1023563" y="1116134"/>
                  <a:pt x="1003208" y="1090634"/>
                  <a:pt x="984605" y="1063637"/>
                </a:cubicBezTo>
                <a:cubicBezTo>
                  <a:pt x="826347" y="833974"/>
                  <a:pt x="822920" y="537093"/>
                  <a:pt x="975836" y="304146"/>
                </a:cubicBezTo>
                <a:cubicBezTo>
                  <a:pt x="1011834" y="249308"/>
                  <a:pt x="1054993" y="200323"/>
                  <a:pt x="1103706" y="157970"/>
                </a:cubicBezTo>
                <a:lnTo>
                  <a:pt x="1116840" y="148003"/>
                </a:lnTo>
                <a:lnTo>
                  <a:pt x="314693" y="148003"/>
                </a:lnTo>
                <a:cubicBezTo>
                  <a:pt x="301069" y="148003"/>
                  <a:pt x="290025" y="136959"/>
                  <a:pt x="290025" y="123335"/>
                </a:cubicBezTo>
                <a:lnTo>
                  <a:pt x="290025" y="24668"/>
                </a:lnTo>
                <a:cubicBezTo>
                  <a:pt x="290025" y="11044"/>
                  <a:pt x="301069" y="0"/>
                  <a:pt x="314693" y="0"/>
                </a:cubicBezTo>
                <a:close/>
              </a:path>
            </a:pathLst>
          </a:custGeom>
          <a:solidFill>
            <a:srgbClr val="EC1C29"/>
          </a:solidFill>
          <a:ln w="127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  <a:scene3d>
            <a:camera prst="perspectiveBelow" fov="7200000">
              <a:rot lat="0" lon="0" rev="0"/>
            </a:camera>
            <a:lightRig rig="threePt" dir="t">
              <a:rot lat="0" lon="0" rev="7800000"/>
            </a:lightRig>
          </a:scene3d>
          <a:sp3d contourW="12700" prstMaterial="plastic">
            <a:bevelT w="38100" h="25400"/>
            <a:contourClr>
              <a:sysClr val="window" lastClr="FFFFFF"/>
            </a:contourClr>
          </a:sp3d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05" name="Group 404"/>
          <p:cNvGrpSpPr>
            <a:grpSpLocks/>
          </p:cNvGrpSpPr>
          <p:nvPr/>
        </p:nvGrpSpPr>
        <p:grpSpPr bwMode="auto">
          <a:xfrm>
            <a:off x="847725" y="1554163"/>
            <a:ext cx="2327275" cy="106362"/>
            <a:chOff x="847668" y="2072098"/>
            <a:chExt cx="2327272" cy="140937"/>
          </a:xfrm>
        </p:grpSpPr>
        <p:sp>
          <p:nvSpPr>
            <p:cNvPr id="406" name="Round Same Side Corner Rectangle 405"/>
            <p:cNvSpPr/>
            <p:nvPr/>
          </p:nvSpPr>
          <p:spPr>
            <a:xfrm rot="10800000">
              <a:off x="847668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7" name="Round Same Side Corner Rectangle 406"/>
            <p:cNvSpPr/>
            <p:nvPr/>
          </p:nvSpPr>
          <p:spPr>
            <a:xfrm rot="10800000">
              <a:off x="981284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8" name="Round Same Side Corner Rectangle 407"/>
            <p:cNvSpPr/>
            <p:nvPr/>
          </p:nvSpPr>
          <p:spPr>
            <a:xfrm rot="10800000">
              <a:off x="1114900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09" name="Round Same Side Corner Rectangle 408"/>
            <p:cNvSpPr/>
            <p:nvPr/>
          </p:nvSpPr>
          <p:spPr>
            <a:xfrm rot="10800000">
              <a:off x="1248516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0" name="Round Same Side Corner Rectangle 409"/>
            <p:cNvSpPr/>
            <p:nvPr/>
          </p:nvSpPr>
          <p:spPr>
            <a:xfrm rot="10800000">
              <a:off x="1382132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1" name="Round Same Side Corner Rectangle 410"/>
            <p:cNvSpPr/>
            <p:nvPr/>
          </p:nvSpPr>
          <p:spPr>
            <a:xfrm rot="10800000">
              <a:off x="1515748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2" name="Round Same Side Corner Rectangle 411"/>
            <p:cNvSpPr/>
            <p:nvPr/>
          </p:nvSpPr>
          <p:spPr>
            <a:xfrm rot="10800000">
              <a:off x="1649364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3" name="Round Same Side Corner Rectangle 412"/>
            <p:cNvSpPr/>
            <p:nvPr/>
          </p:nvSpPr>
          <p:spPr>
            <a:xfrm rot="10800000">
              <a:off x="1782980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4" name="Round Same Side Corner Rectangle 413"/>
            <p:cNvSpPr/>
            <p:nvPr/>
          </p:nvSpPr>
          <p:spPr>
            <a:xfrm rot="10800000">
              <a:off x="1916596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5" name="Round Same Side Corner Rectangle 414"/>
            <p:cNvSpPr/>
            <p:nvPr/>
          </p:nvSpPr>
          <p:spPr>
            <a:xfrm rot="10800000">
              <a:off x="2050212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6" name="Round Same Side Corner Rectangle 415"/>
            <p:cNvSpPr/>
            <p:nvPr/>
          </p:nvSpPr>
          <p:spPr>
            <a:xfrm rot="10800000">
              <a:off x="2183828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7" name="Round Same Side Corner Rectangle 416"/>
            <p:cNvSpPr/>
            <p:nvPr/>
          </p:nvSpPr>
          <p:spPr>
            <a:xfrm rot="10800000">
              <a:off x="2317444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8" name="Round Same Side Corner Rectangle 417"/>
            <p:cNvSpPr/>
            <p:nvPr/>
          </p:nvSpPr>
          <p:spPr>
            <a:xfrm rot="10800000">
              <a:off x="2451060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19" name="Round Same Side Corner Rectangle 418"/>
            <p:cNvSpPr/>
            <p:nvPr/>
          </p:nvSpPr>
          <p:spPr>
            <a:xfrm rot="10800000">
              <a:off x="2584676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20" name="Round Same Side Corner Rectangle 419"/>
            <p:cNvSpPr/>
            <p:nvPr/>
          </p:nvSpPr>
          <p:spPr>
            <a:xfrm rot="10800000">
              <a:off x="2718292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21" name="Round Same Side Corner Rectangle 420"/>
            <p:cNvSpPr/>
            <p:nvPr/>
          </p:nvSpPr>
          <p:spPr>
            <a:xfrm rot="10800000">
              <a:off x="2851908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22" name="Round Same Side Corner Rectangle 421"/>
            <p:cNvSpPr/>
            <p:nvPr/>
          </p:nvSpPr>
          <p:spPr>
            <a:xfrm rot="10800000">
              <a:off x="2985524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  <p:sp>
          <p:nvSpPr>
            <p:cNvPr id="423" name="Round Same Side Corner Rectangle 422"/>
            <p:cNvSpPr/>
            <p:nvPr/>
          </p:nvSpPr>
          <p:spPr>
            <a:xfrm rot="10800000">
              <a:off x="3119145" y="2072098"/>
              <a:ext cx="55795" cy="14093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9187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>
                <a:rot lat="0" lon="0" rev="7800000"/>
              </a:lightRig>
            </a:scene3d>
            <a:sp3d prstMaterial="plastic">
              <a:bevelT w="25400" h="12700"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Open Sans"/>
                <a:cs typeface="Arial" pitchFamily="34" charset="0"/>
              </a:endParaRPr>
            </a:p>
          </p:txBody>
        </p:sp>
      </p:grpSp>
      <p:grpSp>
        <p:nvGrpSpPr>
          <p:cNvPr id="424" name="Group 423"/>
          <p:cNvGrpSpPr>
            <a:grpSpLocks/>
          </p:cNvGrpSpPr>
          <p:nvPr/>
        </p:nvGrpSpPr>
        <p:grpSpPr bwMode="auto">
          <a:xfrm>
            <a:off x="790575" y="927100"/>
            <a:ext cx="2441575" cy="622300"/>
            <a:chOff x="790586" y="1235214"/>
            <a:chExt cx="2441447" cy="830220"/>
          </a:xfrm>
        </p:grpSpPr>
        <p:sp>
          <p:nvSpPr>
            <p:cNvPr id="425" name="Rectangle 257"/>
            <p:cNvSpPr>
              <a:spLocks noChangeArrowheads="1"/>
            </p:cNvSpPr>
            <p:nvPr/>
          </p:nvSpPr>
          <p:spPr bwMode="auto">
            <a:xfrm>
              <a:off x="790586" y="1845978"/>
              <a:ext cx="2441447" cy="219456"/>
            </a:xfrm>
            <a:prstGeom prst="roundRect">
              <a:avLst/>
            </a:prstGeom>
            <a:solidFill>
              <a:srgbClr val="009187">
                <a:lumMod val="50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 prstMaterial="plastic"/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6" name="Freeform 425"/>
            <p:cNvSpPr>
              <a:spLocks noChangeArrowheads="1"/>
            </p:cNvSpPr>
            <p:nvPr/>
          </p:nvSpPr>
          <p:spPr bwMode="auto">
            <a:xfrm rot="16200000">
              <a:off x="1615684" y="416652"/>
              <a:ext cx="784232" cy="2434428"/>
            </a:xfrm>
            <a:custGeom>
              <a:avLst/>
              <a:gdLst>
                <a:gd name="connsiteX0" fmla="*/ 784232 w 784232"/>
                <a:gd name="connsiteY0" fmla="*/ 2036830 h 2434428"/>
                <a:gd name="connsiteX1" fmla="*/ 559351 w 784232"/>
                <a:gd name="connsiteY1" fmla="*/ 2265633 h 2434428"/>
                <a:gd name="connsiteX2" fmla="*/ 471817 w 784232"/>
                <a:gd name="connsiteY2" fmla="*/ 2247653 h 2434428"/>
                <a:gd name="connsiteX3" fmla="*/ 433720 w 784232"/>
                <a:gd name="connsiteY3" fmla="*/ 2226613 h 2434428"/>
                <a:gd name="connsiteX4" fmla="*/ 433720 w 784232"/>
                <a:gd name="connsiteY4" fmla="*/ 2227242 h 2434428"/>
                <a:gd name="connsiteX5" fmla="*/ 198994 w 784232"/>
                <a:gd name="connsiteY5" fmla="*/ 2170443 h 2434428"/>
                <a:gd name="connsiteX6" fmla="*/ 180000 w 784232"/>
                <a:gd name="connsiteY6" fmla="*/ 2206708 h 2434428"/>
                <a:gd name="connsiteX7" fmla="*/ 180000 w 784232"/>
                <a:gd name="connsiteY7" fmla="*/ 2364458 h 2434428"/>
                <a:gd name="connsiteX8" fmla="*/ 180000 w 784232"/>
                <a:gd name="connsiteY8" fmla="*/ 2406711 h 2434428"/>
                <a:gd name="connsiteX9" fmla="*/ 149999 w 784232"/>
                <a:gd name="connsiteY9" fmla="*/ 2434428 h 2434428"/>
                <a:gd name="connsiteX10" fmla="*/ 30001 w 784232"/>
                <a:gd name="connsiteY10" fmla="*/ 2434428 h 2434428"/>
                <a:gd name="connsiteX11" fmla="*/ 0 w 784232"/>
                <a:gd name="connsiteY11" fmla="*/ 2406711 h 2434428"/>
                <a:gd name="connsiteX12" fmla="*/ 0 w 784232"/>
                <a:gd name="connsiteY12" fmla="*/ 27717 h 2434428"/>
                <a:gd name="connsiteX13" fmla="*/ 30001 w 784232"/>
                <a:gd name="connsiteY13" fmla="*/ 0 h 2434428"/>
                <a:gd name="connsiteX14" fmla="*/ 149999 w 784232"/>
                <a:gd name="connsiteY14" fmla="*/ 0 h 2434428"/>
                <a:gd name="connsiteX15" fmla="*/ 180000 w 784232"/>
                <a:gd name="connsiteY15" fmla="*/ 27717 h 2434428"/>
                <a:gd name="connsiteX16" fmla="*/ 180000 w 784232"/>
                <a:gd name="connsiteY16" fmla="*/ 65911 h 2434428"/>
                <a:gd name="connsiteX17" fmla="*/ 180000 w 784232"/>
                <a:gd name="connsiteY17" fmla="*/ 228904 h 2434428"/>
                <a:gd name="connsiteX18" fmla="*/ 204752 w 784232"/>
                <a:gd name="connsiteY18" fmla="*/ 262383 h 2434428"/>
                <a:gd name="connsiteX19" fmla="*/ 433719 w 784232"/>
                <a:gd name="connsiteY19" fmla="*/ 214356 h 2434428"/>
                <a:gd name="connsiteX20" fmla="*/ 471816 w 784232"/>
                <a:gd name="connsiteY20" fmla="*/ 193794 h 2434428"/>
                <a:gd name="connsiteX21" fmla="*/ 559350 w 784232"/>
                <a:gd name="connsiteY21" fmla="*/ 175813 h 2434428"/>
                <a:gd name="connsiteX22" fmla="*/ 784231 w 784232"/>
                <a:gd name="connsiteY22" fmla="*/ 404616 h 2434428"/>
                <a:gd name="connsiteX23" fmla="*/ 559350 w 784232"/>
                <a:gd name="connsiteY23" fmla="*/ 633419 h 2434428"/>
                <a:gd name="connsiteX24" fmla="*/ 471816 w 784232"/>
                <a:gd name="connsiteY24" fmla="*/ 615439 h 2434428"/>
                <a:gd name="connsiteX25" fmla="*/ 433719 w 784232"/>
                <a:gd name="connsiteY25" fmla="*/ 594399 h 2434428"/>
                <a:gd name="connsiteX26" fmla="*/ 433719 w 784232"/>
                <a:gd name="connsiteY26" fmla="*/ 595028 h 2434428"/>
                <a:gd name="connsiteX27" fmla="*/ 198993 w 784232"/>
                <a:gd name="connsiteY27" fmla="*/ 538229 h 2434428"/>
                <a:gd name="connsiteX28" fmla="*/ 180000 w 784232"/>
                <a:gd name="connsiteY28" fmla="*/ 574493 h 2434428"/>
                <a:gd name="connsiteX29" fmla="*/ 180000 w 784232"/>
                <a:gd name="connsiteY29" fmla="*/ 1861116 h 2434428"/>
                <a:gd name="connsiteX30" fmla="*/ 204752 w 784232"/>
                <a:gd name="connsiteY30" fmla="*/ 1894597 h 2434428"/>
                <a:gd name="connsiteX31" fmla="*/ 433720 w 784232"/>
                <a:gd name="connsiteY31" fmla="*/ 1846570 h 2434428"/>
                <a:gd name="connsiteX32" fmla="*/ 471817 w 784232"/>
                <a:gd name="connsiteY32" fmla="*/ 1826008 h 2434428"/>
                <a:gd name="connsiteX33" fmla="*/ 559351 w 784232"/>
                <a:gd name="connsiteY33" fmla="*/ 1808027 h 2434428"/>
                <a:gd name="connsiteX34" fmla="*/ 784232 w 784232"/>
                <a:gd name="connsiteY34" fmla="*/ 2036830 h 243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84232" h="2434428">
                  <a:moveTo>
                    <a:pt x="784232" y="2036830"/>
                  </a:moveTo>
                  <a:cubicBezTo>
                    <a:pt x="784232" y="2163194"/>
                    <a:pt x="683549" y="2265633"/>
                    <a:pt x="559351" y="2265633"/>
                  </a:cubicBezTo>
                  <a:cubicBezTo>
                    <a:pt x="528302" y="2265633"/>
                    <a:pt x="498722" y="2259231"/>
                    <a:pt x="471817" y="2247653"/>
                  </a:cubicBezTo>
                  <a:lnTo>
                    <a:pt x="433720" y="2226613"/>
                  </a:lnTo>
                  <a:lnTo>
                    <a:pt x="433720" y="2227242"/>
                  </a:lnTo>
                  <a:cubicBezTo>
                    <a:pt x="315079" y="2139717"/>
                    <a:pt x="239858" y="2129629"/>
                    <a:pt x="198994" y="2170443"/>
                  </a:cubicBezTo>
                  <a:lnTo>
                    <a:pt x="180000" y="2206708"/>
                  </a:lnTo>
                  <a:lnTo>
                    <a:pt x="180000" y="2364458"/>
                  </a:lnTo>
                  <a:lnTo>
                    <a:pt x="180000" y="2406711"/>
                  </a:lnTo>
                  <a:cubicBezTo>
                    <a:pt x="180000" y="2422019"/>
                    <a:pt x="166568" y="2434428"/>
                    <a:pt x="149999" y="2434428"/>
                  </a:cubicBezTo>
                  <a:lnTo>
                    <a:pt x="30001" y="2434428"/>
                  </a:lnTo>
                  <a:cubicBezTo>
                    <a:pt x="13432" y="2434428"/>
                    <a:pt x="0" y="2422019"/>
                    <a:pt x="0" y="2406711"/>
                  </a:cubicBezTo>
                  <a:lnTo>
                    <a:pt x="0" y="27717"/>
                  </a:lnTo>
                  <a:cubicBezTo>
                    <a:pt x="0" y="12410"/>
                    <a:pt x="13432" y="0"/>
                    <a:pt x="30001" y="0"/>
                  </a:cubicBezTo>
                  <a:lnTo>
                    <a:pt x="149999" y="0"/>
                  </a:lnTo>
                  <a:cubicBezTo>
                    <a:pt x="166568" y="0"/>
                    <a:pt x="180000" y="12410"/>
                    <a:pt x="180000" y="27717"/>
                  </a:cubicBezTo>
                  <a:lnTo>
                    <a:pt x="180000" y="65911"/>
                  </a:lnTo>
                  <a:lnTo>
                    <a:pt x="180000" y="228904"/>
                  </a:lnTo>
                  <a:lnTo>
                    <a:pt x="204752" y="262383"/>
                  </a:lnTo>
                  <a:cubicBezTo>
                    <a:pt x="248253" y="299293"/>
                    <a:pt x="317947" y="297956"/>
                    <a:pt x="433719" y="214356"/>
                  </a:cubicBezTo>
                  <a:lnTo>
                    <a:pt x="471816" y="193794"/>
                  </a:lnTo>
                  <a:cubicBezTo>
                    <a:pt x="498721" y="182215"/>
                    <a:pt x="528301" y="175813"/>
                    <a:pt x="559350" y="175813"/>
                  </a:cubicBezTo>
                  <a:cubicBezTo>
                    <a:pt x="683548" y="175813"/>
                    <a:pt x="784231" y="278252"/>
                    <a:pt x="784231" y="404616"/>
                  </a:cubicBezTo>
                  <a:cubicBezTo>
                    <a:pt x="784231" y="530980"/>
                    <a:pt x="683548" y="633419"/>
                    <a:pt x="559350" y="633419"/>
                  </a:cubicBezTo>
                  <a:cubicBezTo>
                    <a:pt x="528301" y="633419"/>
                    <a:pt x="498721" y="627017"/>
                    <a:pt x="471816" y="615439"/>
                  </a:cubicBezTo>
                  <a:lnTo>
                    <a:pt x="433719" y="594399"/>
                  </a:lnTo>
                  <a:lnTo>
                    <a:pt x="433719" y="595028"/>
                  </a:lnTo>
                  <a:cubicBezTo>
                    <a:pt x="315079" y="507504"/>
                    <a:pt x="239858" y="497415"/>
                    <a:pt x="198993" y="538229"/>
                  </a:cubicBezTo>
                  <a:lnTo>
                    <a:pt x="180000" y="574493"/>
                  </a:lnTo>
                  <a:lnTo>
                    <a:pt x="180000" y="1861116"/>
                  </a:lnTo>
                  <a:lnTo>
                    <a:pt x="204752" y="1894597"/>
                  </a:lnTo>
                  <a:cubicBezTo>
                    <a:pt x="248253" y="1931506"/>
                    <a:pt x="317947" y="1930170"/>
                    <a:pt x="433720" y="1846570"/>
                  </a:cubicBezTo>
                  <a:lnTo>
                    <a:pt x="471817" y="1826008"/>
                  </a:lnTo>
                  <a:cubicBezTo>
                    <a:pt x="498722" y="1814429"/>
                    <a:pt x="528302" y="1808027"/>
                    <a:pt x="559351" y="1808027"/>
                  </a:cubicBezTo>
                  <a:cubicBezTo>
                    <a:pt x="683549" y="1808027"/>
                    <a:pt x="784232" y="1910466"/>
                    <a:pt x="784232" y="203683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187">
                    <a:lumMod val="75000"/>
                  </a:srgbClr>
                </a:gs>
                <a:gs pos="100000">
                  <a:srgbClr val="009187">
                    <a:lumMod val="60000"/>
                    <a:lumOff val="40000"/>
                  </a:srgbClr>
                </a:gs>
                <a:gs pos="14000">
                  <a:srgbClr val="009187"/>
                </a:gs>
                <a:gs pos="79000">
                  <a:srgbClr val="009187">
                    <a:lumMod val="75000"/>
                  </a:srgbClr>
                </a:gs>
              </a:gsLst>
              <a:lin ang="0" scaled="1"/>
              <a:tileRect/>
            </a:gradFill>
            <a:ln w="0" cap="flat" cmpd="sng" algn="ctr">
              <a:solidFill>
                <a:sysClr val="window" lastClr="FFFFFF"/>
              </a:solidFill>
              <a:prstDash val="solid"/>
            </a:ln>
            <a:effectLst/>
            <a:scene3d>
              <a:camera prst="orthographicFront"/>
              <a:lightRig rig="threePt" dir="t">
                <a:rot lat="0" lon="0" rev="7200000"/>
              </a:lightRig>
            </a:scene3d>
            <a:sp3d prstMaterial="plastic"/>
          </p:spPr>
          <p:txBody>
            <a:bodyPr anchor="ctr"/>
            <a:lstStyle/>
            <a:p>
              <a:pPr algn="ctr">
                <a:defRPr/>
              </a:pPr>
              <a:endParaRPr lang="en-AU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27" name="Group 426"/>
            <p:cNvGrpSpPr/>
            <p:nvPr/>
          </p:nvGrpSpPr>
          <p:grpSpPr>
            <a:xfrm>
              <a:off x="991173" y="1266099"/>
              <a:ext cx="413168" cy="401064"/>
              <a:chOff x="3297503" y="1960054"/>
              <a:chExt cx="896104" cy="869855"/>
            </a:xfrm>
            <a:effectLst>
              <a:outerShdw blurRad="50800" sx="101000" sy="101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439" name="Oval 438"/>
              <p:cNvSpPr/>
              <p:nvPr/>
            </p:nvSpPr>
            <p:spPr>
              <a:xfrm>
                <a:off x="3297503" y="1960054"/>
                <a:ext cx="885022" cy="869855"/>
              </a:xfrm>
              <a:prstGeom prst="ellipse">
                <a:avLst/>
              </a:prstGeom>
              <a:gradFill flip="none" rotWithShape="1">
                <a:gsLst>
                  <a:gs pos="77000">
                    <a:srgbClr val="009187"/>
                  </a:gs>
                  <a:gs pos="0">
                    <a:srgbClr val="009187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0" name="Rectangle 6"/>
              <p:cNvSpPr/>
              <p:nvPr/>
            </p:nvSpPr>
            <p:spPr>
              <a:xfrm>
                <a:off x="3780801" y="1988495"/>
                <a:ext cx="235623" cy="15291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681" h="328612">
                    <a:moveTo>
                      <a:pt x="0" y="0"/>
                    </a:moveTo>
                    <a:cubicBezTo>
                      <a:pt x="108744" y="9525"/>
                      <a:pt x="369886" y="64294"/>
                      <a:pt x="497681" y="228600"/>
                    </a:cubicBezTo>
                    <a:lnTo>
                      <a:pt x="381001" y="328612"/>
                    </a:lnTo>
                    <a:cubicBezTo>
                      <a:pt x="350838" y="287336"/>
                      <a:pt x="168276" y="172244"/>
                      <a:pt x="35719" y="13811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1" name="Rectangle 6"/>
              <p:cNvSpPr/>
              <p:nvPr/>
            </p:nvSpPr>
            <p:spPr>
              <a:xfrm rot="1800000">
                <a:off x="3947274" y="2149700"/>
                <a:ext cx="246333" cy="19595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302" h="421115">
                    <a:moveTo>
                      <a:pt x="49005" y="0"/>
                    </a:moveTo>
                    <a:cubicBezTo>
                      <a:pt x="162745" y="3891"/>
                      <a:pt x="407262" y="172741"/>
                      <a:pt x="520302" y="340068"/>
                    </a:cubicBezTo>
                    <a:cubicBezTo>
                      <a:pt x="474101" y="346461"/>
                      <a:pt x="438701" y="390612"/>
                      <a:pt x="417419" y="421115"/>
                    </a:cubicBezTo>
                    <a:cubicBezTo>
                      <a:pt x="363125" y="333280"/>
                      <a:pt x="138104" y="168461"/>
                      <a:pt x="0" y="148532"/>
                    </a:cubicBezTo>
                    <a:lnTo>
                      <a:pt x="49005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2" name="Rectangle 6"/>
              <p:cNvSpPr/>
              <p:nvPr/>
            </p:nvSpPr>
            <p:spPr>
              <a:xfrm>
                <a:off x="3753290" y="2070492"/>
                <a:ext cx="192782" cy="14404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61962"/>
                  <a:gd name="connsiteY0" fmla="*/ 0 h 328612"/>
                  <a:gd name="connsiteX1" fmla="*/ 461962 w 461962"/>
                  <a:gd name="connsiteY1" fmla="*/ 197644 h 328612"/>
                  <a:gd name="connsiteX2" fmla="*/ 381001 w 461962"/>
                  <a:gd name="connsiteY2" fmla="*/ 328612 h 328612"/>
                  <a:gd name="connsiteX3" fmla="*/ 35719 w 461962"/>
                  <a:gd name="connsiteY3" fmla="*/ 138113 h 328612"/>
                  <a:gd name="connsiteX4" fmla="*/ 0 w 461962"/>
                  <a:gd name="connsiteY4" fmla="*/ 0 h 328612"/>
                  <a:gd name="connsiteX0" fmla="*/ 0 w 461962"/>
                  <a:gd name="connsiteY0" fmla="*/ 0 h 319087"/>
                  <a:gd name="connsiteX1" fmla="*/ 461962 w 461962"/>
                  <a:gd name="connsiteY1" fmla="*/ 197644 h 319087"/>
                  <a:gd name="connsiteX2" fmla="*/ 381001 w 461962"/>
                  <a:gd name="connsiteY2" fmla="*/ 319087 h 319087"/>
                  <a:gd name="connsiteX3" fmla="*/ 35719 w 461962"/>
                  <a:gd name="connsiteY3" fmla="*/ 138113 h 319087"/>
                  <a:gd name="connsiteX4" fmla="*/ 0 w 461962"/>
                  <a:gd name="connsiteY4" fmla="*/ 0 h 319087"/>
                  <a:gd name="connsiteX0" fmla="*/ 100012 w 426243"/>
                  <a:gd name="connsiteY0" fmla="*/ 0 h 295274"/>
                  <a:gd name="connsiteX1" fmla="*/ 426243 w 426243"/>
                  <a:gd name="connsiteY1" fmla="*/ 173831 h 295274"/>
                  <a:gd name="connsiteX2" fmla="*/ 345282 w 426243"/>
                  <a:gd name="connsiteY2" fmla="*/ 295274 h 295274"/>
                  <a:gd name="connsiteX3" fmla="*/ 0 w 426243"/>
                  <a:gd name="connsiteY3" fmla="*/ 114300 h 295274"/>
                  <a:gd name="connsiteX4" fmla="*/ 100012 w 426243"/>
                  <a:gd name="connsiteY4" fmla="*/ 0 h 295274"/>
                  <a:gd name="connsiteX0" fmla="*/ 71437 w 397668"/>
                  <a:gd name="connsiteY0" fmla="*/ 0 h 295274"/>
                  <a:gd name="connsiteX1" fmla="*/ 397668 w 397668"/>
                  <a:gd name="connsiteY1" fmla="*/ 173831 h 295274"/>
                  <a:gd name="connsiteX2" fmla="*/ 316707 w 397668"/>
                  <a:gd name="connsiteY2" fmla="*/ 295274 h 295274"/>
                  <a:gd name="connsiteX3" fmla="*/ 0 w 397668"/>
                  <a:gd name="connsiteY3" fmla="*/ 107156 h 295274"/>
                  <a:gd name="connsiteX4" fmla="*/ 71437 w 397668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7655"/>
                  <a:gd name="connsiteX1" fmla="*/ 407193 w 407193"/>
                  <a:gd name="connsiteY1" fmla="*/ 173831 h 297655"/>
                  <a:gd name="connsiteX2" fmla="*/ 323851 w 407193"/>
                  <a:gd name="connsiteY2" fmla="*/ 297655 h 297655"/>
                  <a:gd name="connsiteX3" fmla="*/ 0 w 407193"/>
                  <a:gd name="connsiteY3" fmla="*/ 119062 h 297655"/>
                  <a:gd name="connsiteX4" fmla="*/ 80962 w 407193"/>
                  <a:gd name="connsiteY4" fmla="*/ 0 h 297655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193" h="309561">
                    <a:moveTo>
                      <a:pt x="83344" y="0"/>
                    </a:moveTo>
                    <a:cubicBezTo>
                      <a:pt x="220663" y="47625"/>
                      <a:pt x="286541" y="76199"/>
                      <a:pt x="407193" y="185737"/>
                    </a:cubicBezTo>
                    <a:lnTo>
                      <a:pt x="323851" y="309561"/>
                    </a:lnTo>
                    <a:cubicBezTo>
                      <a:pt x="288926" y="246854"/>
                      <a:pt x="127795" y="148430"/>
                      <a:pt x="0" y="130968"/>
                    </a:cubicBezTo>
                    <a:cubicBezTo>
                      <a:pt x="50799" y="103187"/>
                      <a:pt x="77789" y="53974"/>
                      <a:pt x="83344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3" name="Rectangle 6"/>
              <p:cNvSpPr/>
              <p:nvPr/>
            </p:nvSpPr>
            <p:spPr>
              <a:xfrm rot="1800000">
                <a:off x="3887126" y="2212407"/>
                <a:ext cx="190770" cy="25373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  <a:gd name="connsiteX0" fmla="*/ 49005 w 520302"/>
                  <a:gd name="connsiteY0" fmla="*/ 0 h 548528"/>
                  <a:gd name="connsiteX1" fmla="*/ 520302 w 520302"/>
                  <a:gd name="connsiteY1" fmla="*/ 340068 h 548528"/>
                  <a:gd name="connsiteX2" fmla="*/ 391995 w 520302"/>
                  <a:gd name="connsiteY2" fmla="*/ 548528 h 548528"/>
                  <a:gd name="connsiteX3" fmla="*/ 0 w 520302"/>
                  <a:gd name="connsiteY3" fmla="*/ 148532 h 548528"/>
                  <a:gd name="connsiteX4" fmla="*/ 49005 w 520302"/>
                  <a:gd name="connsiteY4" fmla="*/ 0 h 548528"/>
                  <a:gd name="connsiteX0" fmla="*/ 49005 w 444358"/>
                  <a:gd name="connsiteY0" fmla="*/ 0 h 548528"/>
                  <a:gd name="connsiteX1" fmla="*/ 444358 w 444358"/>
                  <a:gd name="connsiteY1" fmla="*/ 265680 h 548528"/>
                  <a:gd name="connsiteX2" fmla="*/ 391995 w 444358"/>
                  <a:gd name="connsiteY2" fmla="*/ 548528 h 548528"/>
                  <a:gd name="connsiteX3" fmla="*/ 0 w 444358"/>
                  <a:gd name="connsiteY3" fmla="*/ 148532 h 548528"/>
                  <a:gd name="connsiteX4" fmla="*/ 49005 w 444358"/>
                  <a:gd name="connsiteY4" fmla="*/ 0 h 548528"/>
                  <a:gd name="connsiteX0" fmla="*/ 49005 w 448802"/>
                  <a:gd name="connsiteY0" fmla="*/ 0 h 548528"/>
                  <a:gd name="connsiteX1" fmla="*/ 448802 w 448802"/>
                  <a:gd name="connsiteY1" fmla="*/ 268615 h 548528"/>
                  <a:gd name="connsiteX2" fmla="*/ 391995 w 448802"/>
                  <a:gd name="connsiteY2" fmla="*/ 548528 h 548528"/>
                  <a:gd name="connsiteX3" fmla="*/ 0 w 448802"/>
                  <a:gd name="connsiteY3" fmla="*/ 148532 h 548528"/>
                  <a:gd name="connsiteX4" fmla="*/ 49005 w 44880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942" h="545275">
                    <a:moveTo>
                      <a:pt x="2272" y="0"/>
                    </a:moveTo>
                    <a:cubicBezTo>
                      <a:pt x="137358" y="21813"/>
                      <a:pt x="292369" y="121357"/>
                      <a:pt x="402942" y="265362"/>
                    </a:cubicBezTo>
                    <a:cubicBezTo>
                      <a:pt x="366267" y="288253"/>
                      <a:pt x="324638" y="459732"/>
                      <a:pt x="346135" y="545275"/>
                    </a:cubicBezTo>
                    <a:cubicBezTo>
                      <a:pt x="317459" y="439900"/>
                      <a:pt x="136363" y="189232"/>
                      <a:pt x="0" y="162797"/>
                    </a:cubicBezTo>
                    <a:cubicBezTo>
                      <a:pt x="1048" y="107447"/>
                      <a:pt x="1224" y="55350"/>
                      <a:pt x="2272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4" name="Rectangle 7"/>
              <p:cNvSpPr/>
              <p:nvPr/>
            </p:nvSpPr>
            <p:spPr>
              <a:xfrm>
                <a:off x="3327366" y="2502665"/>
                <a:ext cx="426376" cy="304302"/>
              </a:xfrm>
              <a:custGeom>
                <a:avLst/>
                <a:gdLst>
                  <a:gd name="connsiteX0" fmla="*/ 0 w 45719"/>
                  <a:gd name="connsiteY0" fmla="*/ 0 h 296052"/>
                  <a:gd name="connsiteX1" fmla="*/ 45719 w 45719"/>
                  <a:gd name="connsiteY1" fmla="*/ 0 h 296052"/>
                  <a:gd name="connsiteX2" fmla="*/ 45719 w 45719"/>
                  <a:gd name="connsiteY2" fmla="*/ 296052 h 296052"/>
                  <a:gd name="connsiteX3" fmla="*/ 0 w 45719"/>
                  <a:gd name="connsiteY3" fmla="*/ 296052 h 296052"/>
                  <a:gd name="connsiteX4" fmla="*/ 0 w 45719"/>
                  <a:gd name="connsiteY4" fmla="*/ 0 h 296052"/>
                  <a:gd name="connsiteX0" fmla="*/ 0 w 355282"/>
                  <a:gd name="connsiteY0" fmla="*/ 0 h 343677"/>
                  <a:gd name="connsiteX1" fmla="*/ 355282 w 355282"/>
                  <a:gd name="connsiteY1" fmla="*/ 47625 h 343677"/>
                  <a:gd name="connsiteX2" fmla="*/ 355282 w 355282"/>
                  <a:gd name="connsiteY2" fmla="*/ 343677 h 343677"/>
                  <a:gd name="connsiteX3" fmla="*/ 309563 w 355282"/>
                  <a:gd name="connsiteY3" fmla="*/ 343677 h 343677"/>
                  <a:gd name="connsiteX4" fmla="*/ 0 w 355282"/>
                  <a:gd name="connsiteY4" fmla="*/ 0 h 343677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309563 w 905350"/>
                  <a:gd name="connsiteY3" fmla="*/ 343677 h 665146"/>
                  <a:gd name="connsiteX4" fmla="*/ 0 w 905350"/>
                  <a:gd name="connsiteY4" fmla="*/ 0 h 665146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0 w 905350"/>
                  <a:gd name="connsiteY3" fmla="*/ 0 h 665146"/>
                  <a:gd name="connsiteX0" fmla="*/ 0 w 905350"/>
                  <a:gd name="connsiteY0" fmla="*/ 0 h 665286"/>
                  <a:gd name="connsiteX1" fmla="*/ 355282 w 905350"/>
                  <a:gd name="connsiteY1" fmla="*/ 47625 h 665286"/>
                  <a:gd name="connsiteX2" fmla="*/ 905350 w 905350"/>
                  <a:gd name="connsiteY2" fmla="*/ 665146 h 665286"/>
                  <a:gd name="connsiteX3" fmla="*/ 0 w 905350"/>
                  <a:gd name="connsiteY3" fmla="*/ 0 h 665286"/>
                  <a:gd name="connsiteX0" fmla="*/ 0 w 902969"/>
                  <a:gd name="connsiteY0" fmla="*/ 0 h 658144"/>
                  <a:gd name="connsiteX1" fmla="*/ 355282 w 902969"/>
                  <a:gd name="connsiteY1" fmla="*/ 47625 h 658144"/>
                  <a:gd name="connsiteX2" fmla="*/ 902969 w 902969"/>
                  <a:gd name="connsiteY2" fmla="*/ 658002 h 658144"/>
                  <a:gd name="connsiteX3" fmla="*/ 0 w 902969"/>
                  <a:gd name="connsiteY3" fmla="*/ 0 h 658144"/>
                  <a:gd name="connsiteX0" fmla="*/ 0 w 895825"/>
                  <a:gd name="connsiteY0" fmla="*/ 0 h 660525"/>
                  <a:gd name="connsiteX1" fmla="*/ 348138 w 895825"/>
                  <a:gd name="connsiteY1" fmla="*/ 50007 h 660525"/>
                  <a:gd name="connsiteX2" fmla="*/ 895825 w 895825"/>
                  <a:gd name="connsiteY2" fmla="*/ 660384 h 660525"/>
                  <a:gd name="connsiteX3" fmla="*/ 0 w 895825"/>
                  <a:gd name="connsiteY3" fmla="*/ 0 h 660525"/>
                  <a:gd name="connsiteX0" fmla="*/ 0 w 895825"/>
                  <a:gd name="connsiteY0" fmla="*/ 0 h 660561"/>
                  <a:gd name="connsiteX1" fmla="*/ 348138 w 895825"/>
                  <a:gd name="connsiteY1" fmla="*/ 50007 h 660561"/>
                  <a:gd name="connsiteX2" fmla="*/ 895825 w 895825"/>
                  <a:gd name="connsiteY2" fmla="*/ 660384 h 660561"/>
                  <a:gd name="connsiteX3" fmla="*/ 0 w 895825"/>
                  <a:gd name="connsiteY3" fmla="*/ 0 h 660561"/>
                  <a:gd name="connsiteX0" fmla="*/ 0 w 895825"/>
                  <a:gd name="connsiteY0" fmla="*/ 0 h 660426"/>
                  <a:gd name="connsiteX1" fmla="*/ 348138 w 895825"/>
                  <a:gd name="connsiteY1" fmla="*/ 50007 h 660426"/>
                  <a:gd name="connsiteX2" fmla="*/ 895825 w 895825"/>
                  <a:gd name="connsiteY2" fmla="*/ 660384 h 660426"/>
                  <a:gd name="connsiteX3" fmla="*/ 0 w 895825"/>
                  <a:gd name="connsiteY3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900587"/>
                  <a:gd name="connsiteY0" fmla="*/ 0 h 653284"/>
                  <a:gd name="connsiteX1" fmla="*/ 900587 w 900587"/>
                  <a:gd name="connsiteY1" fmla="*/ 653241 h 653284"/>
                  <a:gd name="connsiteX2" fmla="*/ 0 w 900587"/>
                  <a:gd name="connsiteY2" fmla="*/ 0 h 653284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0587" h="653951">
                    <a:moveTo>
                      <a:pt x="0" y="0"/>
                    </a:moveTo>
                    <a:cubicBezTo>
                      <a:pt x="115251" y="279659"/>
                      <a:pt x="432910" y="642663"/>
                      <a:pt x="900587" y="653241"/>
                    </a:cubicBezTo>
                    <a:cubicBezTo>
                      <a:pt x="420210" y="672031"/>
                      <a:pt x="80327" y="314584"/>
                      <a:pt x="0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9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28" name="Rectangle 163"/>
            <p:cNvSpPr>
              <a:spLocks noChangeArrowheads="1"/>
            </p:cNvSpPr>
            <p:nvPr/>
          </p:nvSpPr>
          <p:spPr bwMode="auto">
            <a:xfrm>
              <a:off x="1001713" y="1235214"/>
              <a:ext cx="392091" cy="4934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>
                <a:defRPr/>
              </a:pPr>
              <a:r>
                <a:rPr lang="en-US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ＭＳ Ｐゴシック" pitchFamily="1" charset="-128"/>
                  <a:cs typeface="Arial" pitchFamily="34" charset="0"/>
                </a:rPr>
                <a:t>F</a:t>
              </a:r>
            </a:p>
          </p:txBody>
        </p:sp>
        <p:sp>
          <p:nvSpPr>
            <p:cNvPr id="429" name="Oval 428"/>
            <p:cNvSpPr/>
            <p:nvPr/>
          </p:nvSpPr>
          <p:spPr>
            <a:xfrm>
              <a:off x="1047670" y="1278191"/>
              <a:ext cx="295249" cy="198738"/>
            </a:xfrm>
            <a:prstGeom prst="ellipse">
              <a:avLst/>
            </a:prstGeom>
            <a:gradFill>
              <a:gsLst>
                <a:gs pos="100000">
                  <a:sysClr val="window" lastClr="FFFFFF">
                    <a:alpha val="0"/>
                  </a:sysClr>
                </a:gs>
                <a:gs pos="0">
                  <a:srgbClr val="009187">
                    <a:lumMod val="20000"/>
                    <a:lumOff val="80000"/>
                  </a:srgbClr>
                </a:gs>
              </a:gsLst>
              <a:lin ang="5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b="1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30" name="Group 429"/>
            <p:cNvGrpSpPr/>
            <p:nvPr/>
          </p:nvGrpSpPr>
          <p:grpSpPr>
            <a:xfrm>
              <a:off x="2623387" y="1266099"/>
              <a:ext cx="413168" cy="401064"/>
              <a:chOff x="3297503" y="1960054"/>
              <a:chExt cx="896104" cy="869855"/>
            </a:xfrm>
            <a:effectLst>
              <a:outerShdw blurRad="50800" sx="101000" sy="101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433" name="Oval 432"/>
              <p:cNvSpPr/>
              <p:nvPr/>
            </p:nvSpPr>
            <p:spPr>
              <a:xfrm>
                <a:off x="3297503" y="1960054"/>
                <a:ext cx="885022" cy="869855"/>
              </a:xfrm>
              <a:prstGeom prst="ellipse">
                <a:avLst/>
              </a:prstGeom>
              <a:gradFill flip="none" rotWithShape="1">
                <a:gsLst>
                  <a:gs pos="77000">
                    <a:srgbClr val="009187"/>
                  </a:gs>
                  <a:gs pos="0">
                    <a:srgbClr val="009187">
                      <a:lumMod val="60000"/>
                      <a:lumOff val="40000"/>
                    </a:srgbClr>
                  </a:gs>
                </a:gsLst>
                <a:lin ang="13500000" scaled="1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4" name="Rectangle 6"/>
              <p:cNvSpPr/>
              <p:nvPr/>
            </p:nvSpPr>
            <p:spPr>
              <a:xfrm>
                <a:off x="3780801" y="1988495"/>
                <a:ext cx="235623" cy="15291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681" h="328612">
                    <a:moveTo>
                      <a:pt x="0" y="0"/>
                    </a:moveTo>
                    <a:cubicBezTo>
                      <a:pt x="108744" y="9525"/>
                      <a:pt x="369886" y="64294"/>
                      <a:pt x="497681" y="228600"/>
                    </a:cubicBezTo>
                    <a:lnTo>
                      <a:pt x="381001" y="328612"/>
                    </a:lnTo>
                    <a:cubicBezTo>
                      <a:pt x="350838" y="287336"/>
                      <a:pt x="168276" y="172244"/>
                      <a:pt x="35719" y="13811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5" name="Rectangle 6"/>
              <p:cNvSpPr/>
              <p:nvPr/>
            </p:nvSpPr>
            <p:spPr>
              <a:xfrm rot="1800000">
                <a:off x="3947274" y="2149700"/>
                <a:ext cx="246333" cy="19595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302" h="421115">
                    <a:moveTo>
                      <a:pt x="49005" y="0"/>
                    </a:moveTo>
                    <a:cubicBezTo>
                      <a:pt x="162745" y="3891"/>
                      <a:pt x="407262" y="172741"/>
                      <a:pt x="520302" y="340068"/>
                    </a:cubicBezTo>
                    <a:cubicBezTo>
                      <a:pt x="474101" y="346461"/>
                      <a:pt x="438701" y="390612"/>
                      <a:pt x="417419" y="421115"/>
                    </a:cubicBezTo>
                    <a:cubicBezTo>
                      <a:pt x="363125" y="333280"/>
                      <a:pt x="138104" y="168461"/>
                      <a:pt x="0" y="148532"/>
                    </a:cubicBezTo>
                    <a:lnTo>
                      <a:pt x="49005" y="0"/>
                    </a:ln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6" name="Rectangle 6"/>
              <p:cNvSpPr/>
              <p:nvPr/>
            </p:nvSpPr>
            <p:spPr>
              <a:xfrm>
                <a:off x="3753290" y="2070492"/>
                <a:ext cx="192782" cy="144047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61962"/>
                  <a:gd name="connsiteY0" fmla="*/ 0 h 328612"/>
                  <a:gd name="connsiteX1" fmla="*/ 461962 w 461962"/>
                  <a:gd name="connsiteY1" fmla="*/ 197644 h 328612"/>
                  <a:gd name="connsiteX2" fmla="*/ 381001 w 461962"/>
                  <a:gd name="connsiteY2" fmla="*/ 328612 h 328612"/>
                  <a:gd name="connsiteX3" fmla="*/ 35719 w 461962"/>
                  <a:gd name="connsiteY3" fmla="*/ 138113 h 328612"/>
                  <a:gd name="connsiteX4" fmla="*/ 0 w 461962"/>
                  <a:gd name="connsiteY4" fmla="*/ 0 h 328612"/>
                  <a:gd name="connsiteX0" fmla="*/ 0 w 461962"/>
                  <a:gd name="connsiteY0" fmla="*/ 0 h 319087"/>
                  <a:gd name="connsiteX1" fmla="*/ 461962 w 461962"/>
                  <a:gd name="connsiteY1" fmla="*/ 197644 h 319087"/>
                  <a:gd name="connsiteX2" fmla="*/ 381001 w 461962"/>
                  <a:gd name="connsiteY2" fmla="*/ 319087 h 319087"/>
                  <a:gd name="connsiteX3" fmla="*/ 35719 w 461962"/>
                  <a:gd name="connsiteY3" fmla="*/ 138113 h 319087"/>
                  <a:gd name="connsiteX4" fmla="*/ 0 w 461962"/>
                  <a:gd name="connsiteY4" fmla="*/ 0 h 319087"/>
                  <a:gd name="connsiteX0" fmla="*/ 100012 w 426243"/>
                  <a:gd name="connsiteY0" fmla="*/ 0 h 295274"/>
                  <a:gd name="connsiteX1" fmla="*/ 426243 w 426243"/>
                  <a:gd name="connsiteY1" fmla="*/ 173831 h 295274"/>
                  <a:gd name="connsiteX2" fmla="*/ 345282 w 426243"/>
                  <a:gd name="connsiteY2" fmla="*/ 295274 h 295274"/>
                  <a:gd name="connsiteX3" fmla="*/ 0 w 426243"/>
                  <a:gd name="connsiteY3" fmla="*/ 114300 h 295274"/>
                  <a:gd name="connsiteX4" fmla="*/ 100012 w 426243"/>
                  <a:gd name="connsiteY4" fmla="*/ 0 h 295274"/>
                  <a:gd name="connsiteX0" fmla="*/ 71437 w 397668"/>
                  <a:gd name="connsiteY0" fmla="*/ 0 h 295274"/>
                  <a:gd name="connsiteX1" fmla="*/ 397668 w 397668"/>
                  <a:gd name="connsiteY1" fmla="*/ 173831 h 295274"/>
                  <a:gd name="connsiteX2" fmla="*/ 316707 w 397668"/>
                  <a:gd name="connsiteY2" fmla="*/ 295274 h 295274"/>
                  <a:gd name="connsiteX3" fmla="*/ 0 w 397668"/>
                  <a:gd name="connsiteY3" fmla="*/ 107156 h 295274"/>
                  <a:gd name="connsiteX4" fmla="*/ 71437 w 397668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5274"/>
                  <a:gd name="connsiteX1" fmla="*/ 407193 w 407193"/>
                  <a:gd name="connsiteY1" fmla="*/ 173831 h 295274"/>
                  <a:gd name="connsiteX2" fmla="*/ 326232 w 407193"/>
                  <a:gd name="connsiteY2" fmla="*/ 295274 h 295274"/>
                  <a:gd name="connsiteX3" fmla="*/ 0 w 407193"/>
                  <a:gd name="connsiteY3" fmla="*/ 119062 h 295274"/>
                  <a:gd name="connsiteX4" fmla="*/ 80962 w 407193"/>
                  <a:gd name="connsiteY4" fmla="*/ 0 h 295274"/>
                  <a:gd name="connsiteX0" fmla="*/ 80962 w 407193"/>
                  <a:gd name="connsiteY0" fmla="*/ 0 h 297655"/>
                  <a:gd name="connsiteX1" fmla="*/ 407193 w 407193"/>
                  <a:gd name="connsiteY1" fmla="*/ 173831 h 297655"/>
                  <a:gd name="connsiteX2" fmla="*/ 323851 w 407193"/>
                  <a:gd name="connsiteY2" fmla="*/ 297655 h 297655"/>
                  <a:gd name="connsiteX3" fmla="*/ 0 w 407193"/>
                  <a:gd name="connsiteY3" fmla="*/ 119062 h 297655"/>
                  <a:gd name="connsiteX4" fmla="*/ 80962 w 407193"/>
                  <a:gd name="connsiteY4" fmla="*/ 0 h 297655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  <a:gd name="connsiteX0" fmla="*/ 83344 w 407193"/>
                  <a:gd name="connsiteY0" fmla="*/ 0 h 309561"/>
                  <a:gd name="connsiteX1" fmla="*/ 407193 w 407193"/>
                  <a:gd name="connsiteY1" fmla="*/ 185737 h 309561"/>
                  <a:gd name="connsiteX2" fmla="*/ 323851 w 407193"/>
                  <a:gd name="connsiteY2" fmla="*/ 309561 h 309561"/>
                  <a:gd name="connsiteX3" fmla="*/ 0 w 407193"/>
                  <a:gd name="connsiteY3" fmla="*/ 130968 h 309561"/>
                  <a:gd name="connsiteX4" fmla="*/ 83344 w 407193"/>
                  <a:gd name="connsiteY4" fmla="*/ 0 h 3095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7193" h="309561">
                    <a:moveTo>
                      <a:pt x="83344" y="0"/>
                    </a:moveTo>
                    <a:cubicBezTo>
                      <a:pt x="220663" y="47625"/>
                      <a:pt x="286541" y="76199"/>
                      <a:pt x="407193" y="185737"/>
                    </a:cubicBezTo>
                    <a:lnTo>
                      <a:pt x="323851" y="309561"/>
                    </a:lnTo>
                    <a:cubicBezTo>
                      <a:pt x="288926" y="246854"/>
                      <a:pt x="127795" y="148430"/>
                      <a:pt x="0" y="130968"/>
                    </a:cubicBezTo>
                    <a:cubicBezTo>
                      <a:pt x="50799" y="103187"/>
                      <a:pt x="77789" y="53974"/>
                      <a:pt x="83344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7" name="Rectangle 6"/>
              <p:cNvSpPr/>
              <p:nvPr/>
            </p:nvSpPr>
            <p:spPr>
              <a:xfrm rot="1800000">
                <a:off x="3887126" y="2212407"/>
                <a:ext cx="190770" cy="253732"/>
              </a:xfrm>
              <a:custGeom>
                <a:avLst/>
                <a:gdLst>
                  <a:gd name="connsiteX0" fmla="*/ 0 w 240506"/>
                  <a:gd name="connsiteY0" fmla="*/ 0 h 138112"/>
                  <a:gd name="connsiteX1" fmla="*/ 240506 w 240506"/>
                  <a:gd name="connsiteY1" fmla="*/ 0 h 138112"/>
                  <a:gd name="connsiteX2" fmla="*/ 240506 w 240506"/>
                  <a:gd name="connsiteY2" fmla="*/ 138112 h 138112"/>
                  <a:gd name="connsiteX3" fmla="*/ 0 w 240506"/>
                  <a:gd name="connsiteY3" fmla="*/ 138112 h 138112"/>
                  <a:gd name="connsiteX4" fmla="*/ 0 w 240506"/>
                  <a:gd name="connsiteY4" fmla="*/ 0 h 138112"/>
                  <a:gd name="connsiteX0" fmla="*/ 0 w 359569"/>
                  <a:gd name="connsiteY0" fmla="*/ 0 h 311943"/>
                  <a:gd name="connsiteX1" fmla="*/ 240506 w 359569"/>
                  <a:gd name="connsiteY1" fmla="*/ 0 h 311943"/>
                  <a:gd name="connsiteX2" fmla="*/ 359569 w 359569"/>
                  <a:gd name="connsiteY2" fmla="*/ 311943 h 311943"/>
                  <a:gd name="connsiteX3" fmla="*/ 0 w 359569"/>
                  <a:gd name="connsiteY3" fmla="*/ 138112 h 311943"/>
                  <a:gd name="connsiteX4" fmla="*/ 0 w 359569"/>
                  <a:gd name="connsiteY4" fmla="*/ 0 h 311943"/>
                  <a:gd name="connsiteX0" fmla="*/ 0 w 478631"/>
                  <a:gd name="connsiteY0" fmla="*/ 0 h 311943"/>
                  <a:gd name="connsiteX1" fmla="*/ 478631 w 478631"/>
                  <a:gd name="connsiteY1" fmla="*/ 211931 h 311943"/>
                  <a:gd name="connsiteX2" fmla="*/ 359569 w 478631"/>
                  <a:gd name="connsiteY2" fmla="*/ 311943 h 311943"/>
                  <a:gd name="connsiteX3" fmla="*/ 0 w 478631"/>
                  <a:gd name="connsiteY3" fmla="*/ 138112 h 311943"/>
                  <a:gd name="connsiteX4" fmla="*/ 0 w 478631"/>
                  <a:gd name="connsiteY4" fmla="*/ 0 h 311943"/>
                  <a:gd name="connsiteX0" fmla="*/ 40481 w 478631"/>
                  <a:gd name="connsiteY0" fmla="*/ 0 h 252412"/>
                  <a:gd name="connsiteX1" fmla="*/ 478631 w 478631"/>
                  <a:gd name="connsiteY1" fmla="*/ 152400 h 252412"/>
                  <a:gd name="connsiteX2" fmla="*/ 359569 w 478631"/>
                  <a:gd name="connsiteY2" fmla="*/ 252412 h 252412"/>
                  <a:gd name="connsiteX3" fmla="*/ 0 w 478631"/>
                  <a:gd name="connsiteY3" fmla="*/ 78581 h 252412"/>
                  <a:gd name="connsiteX4" fmla="*/ 40481 w 478631"/>
                  <a:gd name="connsiteY4" fmla="*/ 0 h 2524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21432 w 500063"/>
                  <a:gd name="connsiteY3" fmla="*/ 154781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3338 w 500063"/>
                  <a:gd name="connsiteY3" fmla="*/ 126206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500063"/>
                  <a:gd name="connsiteY0" fmla="*/ 0 h 328612"/>
                  <a:gd name="connsiteX1" fmla="*/ 500063 w 500063"/>
                  <a:gd name="connsiteY1" fmla="*/ 228600 h 328612"/>
                  <a:gd name="connsiteX2" fmla="*/ 381001 w 500063"/>
                  <a:gd name="connsiteY2" fmla="*/ 328612 h 328612"/>
                  <a:gd name="connsiteX3" fmla="*/ 35719 w 500063"/>
                  <a:gd name="connsiteY3" fmla="*/ 138113 h 328612"/>
                  <a:gd name="connsiteX4" fmla="*/ 0 w 500063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35719 w 497681"/>
                  <a:gd name="connsiteY3" fmla="*/ 138113 h 328612"/>
                  <a:gd name="connsiteX4" fmla="*/ 0 w 497681"/>
                  <a:gd name="connsiteY4" fmla="*/ 0 h 328612"/>
                  <a:gd name="connsiteX0" fmla="*/ 0 w 497681"/>
                  <a:gd name="connsiteY0" fmla="*/ 0 h 328612"/>
                  <a:gd name="connsiteX1" fmla="*/ 497681 w 497681"/>
                  <a:gd name="connsiteY1" fmla="*/ 228600 h 328612"/>
                  <a:gd name="connsiteX2" fmla="*/ 381001 w 497681"/>
                  <a:gd name="connsiteY2" fmla="*/ 328612 h 328612"/>
                  <a:gd name="connsiteX3" fmla="*/ 2553 w 497681"/>
                  <a:gd name="connsiteY3" fmla="*/ 118767 h 328612"/>
                  <a:gd name="connsiteX4" fmla="*/ 0 w 497681"/>
                  <a:gd name="connsiteY4" fmla="*/ 0 h 328612"/>
                  <a:gd name="connsiteX0" fmla="*/ 47812 w 495128"/>
                  <a:gd name="connsiteY0" fmla="*/ 0 h 360440"/>
                  <a:gd name="connsiteX1" fmla="*/ 495128 w 495128"/>
                  <a:gd name="connsiteY1" fmla="*/ 260428 h 360440"/>
                  <a:gd name="connsiteX2" fmla="*/ 378448 w 495128"/>
                  <a:gd name="connsiteY2" fmla="*/ 360440 h 360440"/>
                  <a:gd name="connsiteX3" fmla="*/ 0 w 495128"/>
                  <a:gd name="connsiteY3" fmla="*/ 150595 h 360440"/>
                  <a:gd name="connsiteX4" fmla="*/ 47812 w 495128"/>
                  <a:gd name="connsiteY4" fmla="*/ 0 h 360440"/>
                  <a:gd name="connsiteX0" fmla="*/ 47812 w 513243"/>
                  <a:gd name="connsiteY0" fmla="*/ 0 h 360440"/>
                  <a:gd name="connsiteX1" fmla="*/ 513243 w 513243"/>
                  <a:gd name="connsiteY1" fmla="*/ 348956 h 360440"/>
                  <a:gd name="connsiteX2" fmla="*/ 378448 w 513243"/>
                  <a:gd name="connsiteY2" fmla="*/ 360440 h 360440"/>
                  <a:gd name="connsiteX3" fmla="*/ 0 w 513243"/>
                  <a:gd name="connsiteY3" fmla="*/ 150595 h 360440"/>
                  <a:gd name="connsiteX4" fmla="*/ 47812 w 513243"/>
                  <a:gd name="connsiteY4" fmla="*/ 0 h 360440"/>
                  <a:gd name="connsiteX0" fmla="*/ 47812 w 513243"/>
                  <a:gd name="connsiteY0" fmla="*/ 0 h 424369"/>
                  <a:gd name="connsiteX1" fmla="*/ 513243 w 513243"/>
                  <a:gd name="connsiteY1" fmla="*/ 348956 h 424369"/>
                  <a:gd name="connsiteX2" fmla="*/ 415357 w 513243"/>
                  <a:gd name="connsiteY2" fmla="*/ 424369 h 424369"/>
                  <a:gd name="connsiteX3" fmla="*/ 0 w 513243"/>
                  <a:gd name="connsiteY3" fmla="*/ 150595 h 424369"/>
                  <a:gd name="connsiteX4" fmla="*/ 47812 w 513243"/>
                  <a:gd name="connsiteY4" fmla="*/ 0 h 424369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47812 w 513243"/>
                  <a:gd name="connsiteY0" fmla="*/ 0 h 430003"/>
                  <a:gd name="connsiteX1" fmla="*/ 513243 w 513243"/>
                  <a:gd name="connsiteY1" fmla="*/ 348956 h 430003"/>
                  <a:gd name="connsiteX2" fmla="*/ 410360 w 513243"/>
                  <a:gd name="connsiteY2" fmla="*/ 430003 h 430003"/>
                  <a:gd name="connsiteX3" fmla="*/ 0 w 513243"/>
                  <a:gd name="connsiteY3" fmla="*/ 150595 h 430003"/>
                  <a:gd name="connsiteX4" fmla="*/ 47812 w 513243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54871 w 520302"/>
                  <a:gd name="connsiteY0" fmla="*/ 0 h 430003"/>
                  <a:gd name="connsiteX1" fmla="*/ 520302 w 520302"/>
                  <a:gd name="connsiteY1" fmla="*/ 348956 h 430003"/>
                  <a:gd name="connsiteX2" fmla="*/ 417419 w 520302"/>
                  <a:gd name="connsiteY2" fmla="*/ 430003 h 430003"/>
                  <a:gd name="connsiteX3" fmla="*/ 0 w 520302"/>
                  <a:gd name="connsiteY3" fmla="*/ 157420 h 430003"/>
                  <a:gd name="connsiteX4" fmla="*/ 54871 w 520302"/>
                  <a:gd name="connsiteY4" fmla="*/ 0 h 430003"/>
                  <a:gd name="connsiteX0" fmla="*/ 48684 w 520302"/>
                  <a:gd name="connsiteY0" fmla="*/ 0 h 426431"/>
                  <a:gd name="connsiteX1" fmla="*/ 520302 w 520302"/>
                  <a:gd name="connsiteY1" fmla="*/ 345384 h 426431"/>
                  <a:gd name="connsiteX2" fmla="*/ 417419 w 520302"/>
                  <a:gd name="connsiteY2" fmla="*/ 426431 h 426431"/>
                  <a:gd name="connsiteX3" fmla="*/ 0 w 520302"/>
                  <a:gd name="connsiteY3" fmla="*/ 153848 h 426431"/>
                  <a:gd name="connsiteX4" fmla="*/ 48684 w 520302"/>
                  <a:gd name="connsiteY4" fmla="*/ 0 h 426431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6942 w 520302"/>
                  <a:gd name="connsiteY0" fmla="*/ 0 h 419925"/>
                  <a:gd name="connsiteX1" fmla="*/ 520302 w 520302"/>
                  <a:gd name="connsiteY1" fmla="*/ 338878 h 419925"/>
                  <a:gd name="connsiteX2" fmla="*/ 417419 w 520302"/>
                  <a:gd name="connsiteY2" fmla="*/ 419925 h 419925"/>
                  <a:gd name="connsiteX3" fmla="*/ 0 w 520302"/>
                  <a:gd name="connsiteY3" fmla="*/ 147342 h 419925"/>
                  <a:gd name="connsiteX4" fmla="*/ 46942 w 520302"/>
                  <a:gd name="connsiteY4" fmla="*/ 0 h 419925"/>
                  <a:gd name="connsiteX0" fmla="*/ 49005 w 520302"/>
                  <a:gd name="connsiteY0" fmla="*/ 0 h 421115"/>
                  <a:gd name="connsiteX1" fmla="*/ 520302 w 520302"/>
                  <a:gd name="connsiteY1" fmla="*/ 340068 h 421115"/>
                  <a:gd name="connsiteX2" fmla="*/ 417419 w 520302"/>
                  <a:gd name="connsiteY2" fmla="*/ 421115 h 421115"/>
                  <a:gd name="connsiteX3" fmla="*/ 0 w 520302"/>
                  <a:gd name="connsiteY3" fmla="*/ 148532 h 421115"/>
                  <a:gd name="connsiteX4" fmla="*/ 49005 w 520302"/>
                  <a:gd name="connsiteY4" fmla="*/ 0 h 421115"/>
                  <a:gd name="connsiteX0" fmla="*/ 49005 w 520302"/>
                  <a:gd name="connsiteY0" fmla="*/ 0 h 548528"/>
                  <a:gd name="connsiteX1" fmla="*/ 520302 w 520302"/>
                  <a:gd name="connsiteY1" fmla="*/ 340068 h 548528"/>
                  <a:gd name="connsiteX2" fmla="*/ 391995 w 520302"/>
                  <a:gd name="connsiteY2" fmla="*/ 548528 h 548528"/>
                  <a:gd name="connsiteX3" fmla="*/ 0 w 520302"/>
                  <a:gd name="connsiteY3" fmla="*/ 148532 h 548528"/>
                  <a:gd name="connsiteX4" fmla="*/ 49005 w 520302"/>
                  <a:gd name="connsiteY4" fmla="*/ 0 h 548528"/>
                  <a:gd name="connsiteX0" fmla="*/ 49005 w 444358"/>
                  <a:gd name="connsiteY0" fmla="*/ 0 h 548528"/>
                  <a:gd name="connsiteX1" fmla="*/ 444358 w 444358"/>
                  <a:gd name="connsiteY1" fmla="*/ 265680 h 548528"/>
                  <a:gd name="connsiteX2" fmla="*/ 391995 w 444358"/>
                  <a:gd name="connsiteY2" fmla="*/ 548528 h 548528"/>
                  <a:gd name="connsiteX3" fmla="*/ 0 w 444358"/>
                  <a:gd name="connsiteY3" fmla="*/ 148532 h 548528"/>
                  <a:gd name="connsiteX4" fmla="*/ 49005 w 444358"/>
                  <a:gd name="connsiteY4" fmla="*/ 0 h 548528"/>
                  <a:gd name="connsiteX0" fmla="*/ 49005 w 448802"/>
                  <a:gd name="connsiteY0" fmla="*/ 0 h 548528"/>
                  <a:gd name="connsiteX1" fmla="*/ 448802 w 448802"/>
                  <a:gd name="connsiteY1" fmla="*/ 268615 h 548528"/>
                  <a:gd name="connsiteX2" fmla="*/ 391995 w 448802"/>
                  <a:gd name="connsiteY2" fmla="*/ 548528 h 548528"/>
                  <a:gd name="connsiteX3" fmla="*/ 0 w 448802"/>
                  <a:gd name="connsiteY3" fmla="*/ 148532 h 548528"/>
                  <a:gd name="connsiteX4" fmla="*/ 49005 w 44880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3145 w 402942"/>
                  <a:gd name="connsiteY0" fmla="*/ 0 h 548528"/>
                  <a:gd name="connsiteX1" fmla="*/ 402942 w 402942"/>
                  <a:gd name="connsiteY1" fmla="*/ 268615 h 548528"/>
                  <a:gd name="connsiteX2" fmla="*/ 346135 w 402942"/>
                  <a:gd name="connsiteY2" fmla="*/ 548528 h 548528"/>
                  <a:gd name="connsiteX3" fmla="*/ 0 w 402942"/>
                  <a:gd name="connsiteY3" fmla="*/ 166050 h 548528"/>
                  <a:gd name="connsiteX4" fmla="*/ 3145 w 402942"/>
                  <a:gd name="connsiteY4" fmla="*/ 0 h 548528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  <a:gd name="connsiteX0" fmla="*/ 2272 w 402942"/>
                  <a:gd name="connsiteY0" fmla="*/ 0 h 545275"/>
                  <a:gd name="connsiteX1" fmla="*/ 402942 w 402942"/>
                  <a:gd name="connsiteY1" fmla="*/ 265362 h 545275"/>
                  <a:gd name="connsiteX2" fmla="*/ 346135 w 402942"/>
                  <a:gd name="connsiteY2" fmla="*/ 545275 h 545275"/>
                  <a:gd name="connsiteX3" fmla="*/ 0 w 402942"/>
                  <a:gd name="connsiteY3" fmla="*/ 162797 h 545275"/>
                  <a:gd name="connsiteX4" fmla="*/ 2272 w 402942"/>
                  <a:gd name="connsiteY4" fmla="*/ 0 h 54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2942" h="545275">
                    <a:moveTo>
                      <a:pt x="2272" y="0"/>
                    </a:moveTo>
                    <a:cubicBezTo>
                      <a:pt x="137358" y="21813"/>
                      <a:pt x="292369" y="121357"/>
                      <a:pt x="402942" y="265362"/>
                    </a:cubicBezTo>
                    <a:cubicBezTo>
                      <a:pt x="366267" y="288253"/>
                      <a:pt x="324638" y="459732"/>
                      <a:pt x="346135" y="545275"/>
                    </a:cubicBezTo>
                    <a:cubicBezTo>
                      <a:pt x="317459" y="439900"/>
                      <a:pt x="136363" y="189232"/>
                      <a:pt x="0" y="162797"/>
                    </a:cubicBezTo>
                    <a:cubicBezTo>
                      <a:pt x="1048" y="107447"/>
                      <a:pt x="1224" y="55350"/>
                      <a:pt x="2272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8" name="Rectangle 7"/>
              <p:cNvSpPr/>
              <p:nvPr/>
            </p:nvSpPr>
            <p:spPr>
              <a:xfrm>
                <a:off x="3327366" y="2502665"/>
                <a:ext cx="426376" cy="304302"/>
              </a:xfrm>
              <a:custGeom>
                <a:avLst/>
                <a:gdLst>
                  <a:gd name="connsiteX0" fmla="*/ 0 w 45719"/>
                  <a:gd name="connsiteY0" fmla="*/ 0 h 296052"/>
                  <a:gd name="connsiteX1" fmla="*/ 45719 w 45719"/>
                  <a:gd name="connsiteY1" fmla="*/ 0 h 296052"/>
                  <a:gd name="connsiteX2" fmla="*/ 45719 w 45719"/>
                  <a:gd name="connsiteY2" fmla="*/ 296052 h 296052"/>
                  <a:gd name="connsiteX3" fmla="*/ 0 w 45719"/>
                  <a:gd name="connsiteY3" fmla="*/ 296052 h 296052"/>
                  <a:gd name="connsiteX4" fmla="*/ 0 w 45719"/>
                  <a:gd name="connsiteY4" fmla="*/ 0 h 296052"/>
                  <a:gd name="connsiteX0" fmla="*/ 0 w 355282"/>
                  <a:gd name="connsiteY0" fmla="*/ 0 h 343677"/>
                  <a:gd name="connsiteX1" fmla="*/ 355282 w 355282"/>
                  <a:gd name="connsiteY1" fmla="*/ 47625 h 343677"/>
                  <a:gd name="connsiteX2" fmla="*/ 355282 w 355282"/>
                  <a:gd name="connsiteY2" fmla="*/ 343677 h 343677"/>
                  <a:gd name="connsiteX3" fmla="*/ 309563 w 355282"/>
                  <a:gd name="connsiteY3" fmla="*/ 343677 h 343677"/>
                  <a:gd name="connsiteX4" fmla="*/ 0 w 355282"/>
                  <a:gd name="connsiteY4" fmla="*/ 0 h 343677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309563 w 905350"/>
                  <a:gd name="connsiteY3" fmla="*/ 343677 h 665146"/>
                  <a:gd name="connsiteX4" fmla="*/ 0 w 905350"/>
                  <a:gd name="connsiteY4" fmla="*/ 0 h 665146"/>
                  <a:gd name="connsiteX0" fmla="*/ 0 w 905350"/>
                  <a:gd name="connsiteY0" fmla="*/ 0 h 665146"/>
                  <a:gd name="connsiteX1" fmla="*/ 355282 w 905350"/>
                  <a:gd name="connsiteY1" fmla="*/ 47625 h 665146"/>
                  <a:gd name="connsiteX2" fmla="*/ 905350 w 905350"/>
                  <a:gd name="connsiteY2" fmla="*/ 665146 h 665146"/>
                  <a:gd name="connsiteX3" fmla="*/ 0 w 905350"/>
                  <a:gd name="connsiteY3" fmla="*/ 0 h 665146"/>
                  <a:gd name="connsiteX0" fmla="*/ 0 w 905350"/>
                  <a:gd name="connsiteY0" fmla="*/ 0 h 665286"/>
                  <a:gd name="connsiteX1" fmla="*/ 355282 w 905350"/>
                  <a:gd name="connsiteY1" fmla="*/ 47625 h 665286"/>
                  <a:gd name="connsiteX2" fmla="*/ 905350 w 905350"/>
                  <a:gd name="connsiteY2" fmla="*/ 665146 h 665286"/>
                  <a:gd name="connsiteX3" fmla="*/ 0 w 905350"/>
                  <a:gd name="connsiteY3" fmla="*/ 0 h 665286"/>
                  <a:gd name="connsiteX0" fmla="*/ 0 w 902969"/>
                  <a:gd name="connsiteY0" fmla="*/ 0 h 658144"/>
                  <a:gd name="connsiteX1" fmla="*/ 355282 w 902969"/>
                  <a:gd name="connsiteY1" fmla="*/ 47625 h 658144"/>
                  <a:gd name="connsiteX2" fmla="*/ 902969 w 902969"/>
                  <a:gd name="connsiteY2" fmla="*/ 658002 h 658144"/>
                  <a:gd name="connsiteX3" fmla="*/ 0 w 902969"/>
                  <a:gd name="connsiteY3" fmla="*/ 0 h 658144"/>
                  <a:gd name="connsiteX0" fmla="*/ 0 w 895825"/>
                  <a:gd name="connsiteY0" fmla="*/ 0 h 660525"/>
                  <a:gd name="connsiteX1" fmla="*/ 348138 w 895825"/>
                  <a:gd name="connsiteY1" fmla="*/ 50007 h 660525"/>
                  <a:gd name="connsiteX2" fmla="*/ 895825 w 895825"/>
                  <a:gd name="connsiteY2" fmla="*/ 660384 h 660525"/>
                  <a:gd name="connsiteX3" fmla="*/ 0 w 895825"/>
                  <a:gd name="connsiteY3" fmla="*/ 0 h 660525"/>
                  <a:gd name="connsiteX0" fmla="*/ 0 w 895825"/>
                  <a:gd name="connsiteY0" fmla="*/ 0 h 660561"/>
                  <a:gd name="connsiteX1" fmla="*/ 348138 w 895825"/>
                  <a:gd name="connsiteY1" fmla="*/ 50007 h 660561"/>
                  <a:gd name="connsiteX2" fmla="*/ 895825 w 895825"/>
                  <a:gd name="connsiteY2" fmla="*/ 660384 h 660561"/>
                  <a:gd name="connsiteX3" fmla="*/ 0 w 895825"/>
                  <a:gd name="connsiteY3" fmla="*/ 0 h 660561"/>
                  <a:gd name="connsiteX0" fmla="*/ 0 w 895825"/>
                  <a:gd name="connsiteY0" fmla="*/ 0 h 660426"/>
                  <a:gd name="connsiteX1" fmla="*/ 348138 w 895825"/>
                  <a:gd name="connsiteY1" fmla="*/ 50007 h 660426"/>
                  <a:gd name="connsiteX2" fmla="*/ 895825 w 895825"/>
                  <a:gd name="connsiteY2" fmla="*/ 660384 h 660426"/>
                  <a:gd name="connsiteX3" fmla="*/ 0 w 895825"/>
                  <a:gd name="connsiteY3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895825"/>
                  <a:gd name="connsiteY0" fmla="*/ 0 h 660426"/>
                  <a:gd name="connsiteX1" fmla="*/ 895825 w 895825"/>
                  <a:gd name="connsiteY1" fmla="*/ 660384 h 660426"/>
                  <a:gd name="connsiteX2" fmla="*/ 0 w 895825"/>
                  <a:gd name="connsiteY2" fmla="*/ 0 h 660426"/>
                  <a:gd name="connsiteX0" fmla="*/ 0 w 900587"/>
                  <a:gd name="connsiteY0" fmla="*/ 0 h 653284"/>
                  <a:gd name="connsiteX1" fmla="*/ 900587 w 900587"/>
                  <a:gd name="connsiteY1" fmla="*/ 653241 h 653284"/>
                  <a:gd name="connsiteX2" fmla="*/ 0 w 900587"/>
                  <a:gd name="connsiteY2" fmla="*/ 0 h 653284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  <a:gd name="connsiteX0" fmla="*/ 0 w 900587"/>
                  <a:gd name="connsiteY0" fmla="*/ 0 h 653951"/>
                  <a:gd name="connsiteX1" fmla="*/ 900587 w 900587"/>
                  <a:gd name="connsiteY1" fmla="*/ 653241 h 653951"/>
                  <a:gd name="connsiteX2" fmla="*/ 0 w 900587"/>
                  <a:gd name="connsiteY2" fmla="*/ 0 h 653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0587" h="653951">
                    <a:moveTo>
                      <a:pt x="0" y="0"/>
                    </a:moveTo>
                    <a:cubicBezTo>
                      <a:pt x="115251" y="279659"/>
                      <a:pt x="432910" y="642663"/>
                      <a:pt x="900587" y="653241"/>
                    </a:cubicBezTo>
                    <a:cubicBezTo>
                      <a:pt x="420210" y="672031"/>
                      <a:pt x="80327" y="314584"/>
                      <a:pt x="0" y="0"/>
                    </a:cubicBezTo>
                    <a:close/>
                  </a:path>
                </a:pathLst>
              </a:custGeom>
              <a:solidFill>
                <a:srgbClr val="009187">
                  <a:lumMod val="40000"/>
                  <a:lumOff val="60000"/>
                  <a:alpha val="59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31" name="Rectangle 163"/>
            <p:cNvSpPr>
              <a:spLocks noChangeArrowheads="1"/>
            </p:cNvSpPr>
            <p:nvPr/>
          </p:nvSpPr>
          <p:spPr bwMode="auto">
            <a:xfrm>
              <a:off x="2633577" y="1235214"/>
              <a:ext cx="392091" cy="4934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>
                <a:defRPr/>
              </a:pPr>
              <a:r>
                <a:rPr lang="en-US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ＭＳ Ｐゴシック" pitchFamily="1" charset="-128"/>
                  <a:cs typeface="Arial" pitchFamily="34" charset="0"/>
                </a:rPr>
                <a:t>Q</a:t>
              </a:r>
            </a:p>
          </p:txBody>
        </p:sp>
        <p:sp>
          <p:nvSpPr>
            <p:cNvPr id="432" name="Oval 431"/>
            <p:cNvSpPr/>
            <p:nvPr/>
          </p:nvSpPr>
          <p:spPr>
            <a:xfrm>
              <a:off x="2679884" y="1278191"/>
              <a:ext cx="295249" cy="198738"/>
            </a:xfrm>
            <a:prstGeom prst="ellipse">
              <a:avLst/>
            </a:prstGeom>
            <a:gradFill>
              <a:gsLst>
                <a:gs pos="100000">
                  <a:sysClr val="window" lastClr="FFFFFF">
                    <a:alpha val="0"/>
                  </a:sysClr>
                </a:gs>
                <a:gs pos="0">
                  <a:srgbClr val="009187">
                    <a:lumMod val="20000"/>
                    <a:lumOff val="80000"/>
                  </a:srgbClr>
                </a:gs>
              </a:gsLst>
              <a:lin ang="5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b="1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5" name="Group 444"/>
          <p:cNvGrpSpPr>
            <a:grpSpLocks/>
          </p:cNvGrpSpPr>
          <p:nvPr/>
        </p:nvGrpSpPr>
        <p:grpSpPr bwMode="auto">
          <a:xfrm>
            <a:off x="3194050" y="2038350"/>
            <a:ext cx="1216025" cy="623888"/>
            <a:chOff x="3193488" y="2718565"/>
            <a:chExt cx="1216152" cy="830219"/>
          </a:xfrm>
        </p:grpSpPr>
        <p:grpSp>
          <p:nvGrpSpPr>
            <p:cNvPr id="32843" name="Group 445"/>
            <p:cNvGrpSpPr>
              <a:grpSpLocks/>
            </p:cNvGrpSpPr>
            <p:nvPr/>
          </p:nvGrpSpPr>
          <p:grpSpPr bwMode="auto">
            <a:xfrm>
              <a:off x="3193488" y="2725100"/>
              <a:ext cx="1216152" cy="823684"/>
              <a:chOff x="3193488" y="2725100"/>
              <a:chExt cx="1216152" cy="823684"/>
            </a:xfrm>
          </p:grpSpPr>
          <p:sp>
            <p:nvSpPr>
              <p:cNvPr id="457" name="Rectangle 257"/>
              <p:cNvSpPr>
                <a:spLocks noChangeArrowheads="1"/>
              </p:cNvSpPr>
              <p:nvPr/>
            </p:nvSpPr>
            <p:spPr bwMode="auto">
              <a:xfrm>
                <a:off x="3193488" y="3329328"/>
                <a:ext cx="1216152" cy="219456"/>
              </a:xfrm>
              <a:prstGeom prst="roundRect">
                <a:avLst/>
              </a:prstGeom>
              <a:solidFill>
                <a:srgbClr val="009187">
                  <a:lumMod val="50000"/>
                </a:srgbClr>
              </a:solidFill>
              <a:ln w="127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8" name="Freeform 457"/>
              <p:cNvSpPr>
                <a:spLocks noChangeArrowheads="1"/>
              </p:cNvSpPr>
              <p:nvPr/>
            </p:nvSpPr>
            <p:spPr bwMode="auto">
              <a:xfrm rot="16200000">
                <a:off x="3407701" y="2510888"/>
                <a:ext cx="784231" cy="1212656"/>
              </a:xfrm>
              <a:custGeom>
                <a:avLst/>
                <a:gdLst>
                  <a:gd name="connsiteX0" fmla="*/ 784231 w 784231"/>
                  <a:gd name="connsiteY0" fmla="*/ 404616 h 1212656"/>
                  <a:gd name="connsiteX1" fmla="*/ 559350 w 784231"/>
                  <a:gd name="connsiteY1" fmla="*/ 633419 h 1212656"/>
                  <a:gd name="connsiteX2" fmla="*/ 471816 w 784231"/>
                  <a:gd name="connsiteY2" fmla="*/ 615439 h 1212656"/>
                  <a:gd name="connsiteX3" fmla="*/ 433719 w 784231"/>
                  <a:gd name="connsiteY3" fmla="*/ 594399 h 1212656"/>
                  <a:gd name="connsiteX4" fmla="*/ 433719 w 784231"/>
                  <a:gd name="connsiteY4" fmla="*/ 595028 h 1212656"/>
                  <a:gd name="connsiteX5" fmla="*/ 198993 w 784231"/>
                  <a:gd name="connsiteY5" fmla="*/ 538229 h 1212656"/>
                  <a:gd name="connsiteX6" fmla="*/ 180000 w 784231"/>
                  <a:gd name="connsiteY6" fmla="*/ 574493 h 1212656"/>
                  <a:gd name="connsiteX7" fmla="*/ 180000 w 784231"/>
                  <a:gd name="connsiteY7" fmla="*/ 1177802 h 1212656"/>
                  <a:gd name="connsiteX8" fmla="*/ 180000 w 784231"/>
                  <a:gd name="connsiteY8" fmla="*/ 1198849 h 1212656"/>
                  <a:gd name="connsiteX9" fmla="*/ 149999 w 784231"/>
                  <a:gd name="connsiteY9" fmla="*/ 1212656 h 1212656"/>
                  <a:gd name="connsiteX10" fmla="*/ 30001 w 784231"/>
                  <a:gd name="connsiteY10" fmla="*/ 1212656 h 1212656"/>
                  <a:gd name="connsiteX11" fmla="*/ 0 w 784231"/>
                  <a:gd name="connsiteY11" fmla="*/ 1198849 h 1212656"/>
                  <a:gd name="connsiteX12" fmla="*/ 0 w 784231"/>
                  <a:gd name="connsiteY12" fmla="*/ 13807 h 1212656"/>
                  <a:gd name="connsiteX13" fmla="*/ 30001 w 784231"/>
                  <a:gd name="connsiteY13" fmla="*/ 0 h 1212656"/>
                  <a:gd name="connsiteX14" fmla="*/ 149999 w 784231"/>
                  <a:gd name="connsiteY14" fmla="*/ 0 h 1212656"/>
                  <a:gd name="connsiteX15" fmla="*/ 180000 w 784231"/>
                  <a:gd name="connsiteY15" fmla="*/ 13807 h 1212656"/>
                  <a:gd name="connsiteX16" fmla="*/ 180000 w 784231"/>
                  <a:gd name="connsiteY16" fmla="*/ 32832 h 1212656"/>
                  <a:gd name="connsiteX17" fmla="*/ 180000 w 784231"/>
                  <a:gd name="connsiteY17" fmla="*/ 228904 h 1212656"/>
                  <a:gd name="connsiteX18" fmla="*/ 204752 w 784231"/>
                  <a:gd name="connsiteY18" fmla="*/ 262384 h 1212656"/>
                  <a:gd name="connsiteX19" fmla="*/ 433719 w 784231"/>
                  <a:gd name="connsiteY19" fmla="*/ 214356 h 1212656"/>
                  <a:gd name="connsiteX20" fmla="*/ 471816 w 784231"/>
                  <a:gd name="connsiteY20" fmla="*/ 193794 h 1212656"/>
                  <a:gd name="connsiteX21" fmla="*/ 559350 w 784231"/>
                  <a:gd name="connsiteY21" fmla="*/ 175813 h 1212656"/>
                  <a:gd name="connsiteX22" fmla="*/ 784231 w 784231"/>
                  <a:gd name="connsiteY22" fmla="*/ 404616 h 1212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84231" h="1212656">
                    <a:moveTo>
                      <a:pt x="784231" y="404616"/>
                    </a:moveTo>
                    <a:cubicBezTo>
                      <a:pt x="784231" y="530980"/>
                      <a:pt x="683548" y="633419"/>
                      <a:pt x="559350" y="633419"/>
                    </a:cubicBezTo>
                    <a:cubicBezTo>
                      <a:pt x="528301" y="633419"/>
                      <a:pt x="498721" y="627017"/>
                      <a:pt x="471816" y="615439"/>
                    </a:cubicBezTo>
                    <a:lnTo>
                      <a:pt x="433719" y="594399"/>
                    </a:lnTo>
                    <a:lnTo>
                      <a:pt x="433719" y="595028"/>
                    </a:lnTo>
                    <a:cubicBezTo>
                      <a:pt x="315079" y="507504"/>
                      <a:pt x="239858" y="497415"/>
                      <a:pt x="198993" y="538229"/>
                    </a:cubicBezTo>
                    <a:lnTo>
                      <a:pt x="180000" y="574493"/>
                    </a:lnTo>
                    <a:lnTo>
                      <a:pt x="180000" y="1177802"/>
                    </a:lnTo>
                    <a:lnTo>
                      <a:pt x="180000" y="1198849"/>
                    </a:lnTo>
                    <a:cubicBezTo>
                      <a:pt x="180000" y="1206475"/>
                      <a:pt x="166568" y="1212656"/>
                      <a:pt x="149999" y="1212656"/>
                    </a:cubicBezTo>
                    <a:lnTo>
                      <a:pt x="30001" y="1212656"/>
                    </a:lnTo>
                    <a:cubicBezTo>
                      <a:pt x="13432" y="1212656"/>
                      <a:pt x="0" y="1206475"/>
                      <a:pt x="0" y="1198849"/>
                    </a:cubicBezTo>
                    <a:lnTo>
                      <a:pt x="0" y="13807"/>
                    </a:lnTo>
                    <a:cubicBezTo>
                      <a:pt x="0" y="6182"/>
                      <a:pt x="13432" y="0"/>
                      <a:pt x="30001" y="0"/>
                    </a:cubicBezTo>
                    <a:lnTo>
                      <a:pt x="149999" y="0"/>
                    </a:lnTo>
                    <a:cubicBezTo>
                      <a:pt x="166568" y="0"/>
                      <a:pt x="180000" y="6182"/>
                      <a:pt x="180000" y="13807"/>
                    </a:cubicBezTo>
                    <a:lnTo>
                      <a:pt x="180000" y="32832"/>
                    </a:lnTo>
                    <a:lnTo>
                      <a:pt x="180000" y="228904"/>
                    </a:lnTo>
                    <a:lnTo>
                      <a:pt x="204752" y="262384"/>
                    </a:lnTo>
                    <a:cubicBezTo>
                      <a:pt x="248253" y="299293"/>
                      <a:pt x="317947" y="297956"/>
                      <a:pt x="433719" y="214356"/>
                    </a:cubicBezTo>
                    <a:lnTo>
                      <a:pt x="471816" y="193794"/>
                    </a:lnTo>
                    <a:cubicBezTo>
                      <a:pt x="498721" y="182215"/>
                      <a:pt x="528301" y="175813"/>
                      <a:pt x="559350" y="175813"/>
                    </a:cubicBezTo>
                    <a:cubicBezTo>
                      <a:pt x="683548" y="175813"/>
                      <a:pt x="784231" y="278252"/>
                      <a:pt x="784231" y="40461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9187">
                      <a:lumMod val="75000"/>
                    </a:srgbClr>
                  </a:gs>
                  <a:gs pos="100000">
                    <a:srgbClr val="009187">
                      <a:lumMod val="60000"/>
                      <a:lumOff val="40000"/>
                    </a:srgbClr>
                  </a:gs>
                  <a:gs pos="14000">
                    <a:srgbClr val="009187"/>
                  </a:gs>
                  <a:gs pos="79000">
                    <a:srgbClr val="009187">
                      <a:lumMod val="75000"/>
                    </a:srgbClr>
                  </a:gs>
                </a:gsLst>
                <a:lin ang="0" scaled="1"/>
                <a:tileRect/>
              </a:gradFill>
              <a:ln w="0" cap="flat" cmpd="sng" algn="ctr">
                <a:solidFill>
                  <a:sysClr val="window" lastClr="FFFFFF"/>
                </a:solidFill>
                <a:prstDash val="solid"/>
              </a:ln>
              <a:effectLst/>
              <a:scene3d>
                <a:camera prst="orthographicFront"/>
                <a:lightRig rig="threePt" dir="t">
                  <a:rot lat="0" lon="0" rev="7200000"/>
                </a:lightRig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2844" name="Group 446"/>
            <p:cNvGrpSpPr>
              <a:grpSpLocks/>
            </p:cNvGrpSpPr>
            <p:nvPr/>
          </p:nvGrpSpPr>
          <p:grpSpPr bwMode="auto">
            <a:xfrm>
              <a:off x="3394075" y="2718565"/>
              <a:ext cx="413168" cy="492443"/>
              <a:chOff x="3394075" y="2718565"/>
              <a:chExt cx="413168" cy="492443"/>
            </a:xfrm>
          </p:grpSpPr>
          <p:grpSp>
            <p:nvGrpSpPr>
              <p:cNvPr id="448" name="Group 447"/>
              <p:cNvGrpSpPr/>
              <p:nvPr/>
            </p:nvGrpSpPr>
            <p:grpSpPr>
              <a:xfrm>
                <a:off x="3394075" y="2749449"/>
                <a:ext cx="413168" cy="401064"/>
                <a:chOff x="3297503" y="1960054"/>
                <a:chExt cx="896104" cy="869855"/>
              </a:xfrm>
              <a:effectLst>
                <a:outerShdw blurRad="50800" sx="101000" sy="101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51" name="Oval 450"/>
                <p:cNvSpPr/>
                <p:nvPr/>
              </p:nvSpPr>
              <p:spPr>
                <a:xfrm>
                  <a:off x="3297503" y="1960054"/>
                  <a:ext cx="885022" cy="869855"/>
                </a:xfrm>
                <a:prstGeom prst="ellipse">
                  <a:avLst/>
                </a:prstGeom>
                <a:gradFill flip="none" rotWithShape="1">
                  <a:gsLst>
                    <a:gs pos="77000">
                      <a:srgbClr val="009187"/>
                    </a:gs>
                    <a:gs pos="0">
                      <a:srgbClr val="009187">
                        <a:lumMod val="60000"/>
                        <a:lumOff val="40000"/>
                      </a:srgbClr>
                    </a:gs>
                  </a:gsLst>
                  <a:lin ang="13500000" scaled="1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2" name="Rectangle 6"/>
                <p:cNvSpPr/>
                <p:nvPr/>
              </p:nvSpPr>
              <p:spPr>
                <a:xfrm>
                  <a:off x="3780801" y="1988495"/>
                  <a:ext cx="235623" cy="15291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681" h="328612">
                      <a:moveTo>
                        <a:pt x="0" y="0"/>
                      </a:moveTo>
                      <a:cubicBezTo>
                        <a:pt x="108744" y="9525"/>
                        <a:pt x="369886" y="64294"/>
                        <a:pt x="497681" y="228600"/>
                      </a:cubicBezTo>
                      <a:lnTo>
                        <a:pt x="381001" y="328612"/>
                      </a:lnTo>
                      <a:cubicBezTo>
                        <a:pt x="350838" y="287336"/>
                        <a:pt x="168276" y="172244"/>
                        <a:pt x="35719" y="1381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3" name="Rectangle 6"/>
                <p:cNvSpPr/>
                <p:nvPr/>
              </p:nvSpPr>
              <p:spPr>
                <a:xfrm rot="1800000">
                  <a:off x="3947274" y="2149700"/>
                  <a:ext cx="246333" cy="19595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0302" h="421115">
                      <a:moveTo>
                        <a:pt x="49005" y="0"/>
                      </a:moveTo>
                      <a:cubicBezTo>
                        <a:pt x="162745" y="3891"/>
                        <a:pt x="407262" y="172741"/>
                        <a:pt x="520302" y="340068"/>
                      </a:cubicBezTo>
                      <a:cubicBezTo>
                        <a:pt x="474101" y="346461"/>
                        <a:pt x="438701" y="390612"/>
                        <a:pt x="417419" y="421115"/>
                      </a:cubicBezTo>
                      <a:cubicBezTo>
                        <a:pt x="363125" y="333280"/>
                        <a:pt x="138104" y="168461"/>
                        <a:pt x="0" y="148532"/>
                      </a:cubicBezTo>
                      <a:lnTo>
                        <a:pt x="49005" y="0"/>
                      </a:ln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4" name="Rectangle 6"/>
                <p:cNvSpPr/>
                <p:nvPr/>
              </p:nvSpPr>
              <p:spPr>
                <a:xfrm>
                  <a:off x="3753290" y="2070492"/>
                  <a:ext cx="192782" cy="14404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61962"/>
                    <a:gd name="connsiteY0" fmla="*/ 0 h 328612"/>
                    <a:gd name="connsiteX1" fmla="*/ 461962 w 461962"/>
                    <a:gd name="connsiteY1" fmla="*/ 197644 h 328612"/>
                    <a:gd name="connsiteX2" fmla="*/ 381001 w 461962"/>
                    <a:gd name="connsiteY2" fmla="*/ 328612 h 328612"/>
                    <a:gd name="connsiteX3" fmla="*/ 35719 w 461962"/>
                    <a:gd name="connsiteY3" fmla="*/ 138113 h 328612"/>
                    <a:gd name="connsiteX4" fmla="*/ 0 w 461962"/>
                    <a:gd name="connsiteY4" fmla="*/ 0 h 328612"/>
                    <a:gd name="connsiteX0" fmla="*/ 0 w 461962"/>
                    <a:gd name="connsiteY0" fmla="*/ 0 h 319087"/>
                    <a:gd name="connsiteX1" fmla="*/ 461962 w 461962"/>
                    <a:gd name="connsiteY1" fmla="*/ 197644 h 319087"/>
                    <a:gd name="connsiteX2" fmla="*/ 381001 w 461962"/>
                    <a:gd name="connsiteY2" fmla="*/ 319087 h 319087"/>
                    <a:gd name="connsiteX3" fmla="*/ 35719 w 461962"/>
                    <a:gd name="connsiteY3" fmla="*/ 138113 h 319087"/>
                    <a:gd name="connsiteX4" fmla="*/ 0 w 461962"/>
                    <a:gd name="connsiteY4" fmla="*/ 0 h 319087"/>
                    <a:gd name="connsiteX0" fmla="*/ 100012 w 426243"/>
                    <a:gd name="connsiteY0" fmla="*/ 0 h 295274"/>
                    <a:gd name="connsiteX1" fmla="*/ 426243 w 426243"/>
                    <a:gd name="connsiteY1" fmla="*/ 173831 h 295274"/>
                    <a:gd name="connsiteX2" fmla="*/ 345282 w 426243"/>
                    <a:gd name="connsiteY2" fmla="*/ 295274 h 295274"/>
                    <a:gd name="connsiteX3" fmla="*/ 0 w 426243"/>
                    <a:gd name="connsiteY3" fmla="*/ 114300 h 295274"/>
                    <a:gd name="connsiteX4" fmla="*/ 100012 w 426243"/>
                    <a:gd name="connsiteY4" fmla="*/ 0 h 295274"/>
                    <a:gd name="connsiteX0" fmla="*/ 71437 w 397668"/>
                    <a:gd name="connsiteY0" fmla="*/ 0 h 295274"/>
                    <a:gd name="connsiteX1" fmla="*/ 397668 w 397668"/>
                    <a:gd name="connsiteY1" fmla="*/ 173831 h 295274"/>
                    <a:gd name="connsiteX2" fmla="*/ 316707 w 397668"/>
                    <a:gd name="connsiteY2" fmla="*/ 295274 h 295274"/>
                    <a:gd name="connsiteX3" fmla="*/ 0 w 397668"/>
                    <a:gd name="connsiteY3" fmla="*/ 107156 h 295274"/>
                    <a:gd name="connsiteX4" fmla="*/ 71437 w 397668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7655"/>
                    <a:gd name="connsiteX1" fmla="*/ 407193 w 407193"/>
                    <a:gd name="connsiteY1" fmla="*/ 173831 h 297655"/>
                    <a:gd name="connsiteX2" fmla="*/ 323851 w 407193"/>
                    <a:gd name="connsiteY2" fmla="*/ 297655 h 297655"/>
                    <a:gd name="connsiteX3" fmla="*/ 0 w 407193"/>
                    <a:gd name="connsiteY3" fmla="*/ 119062 h 297655"/>
                    <a:gd name="connsiteX4" fmla="*/ 80962 w 407193"/>
                    <a:gd name="connsiteY4" fmla="*/ 0 h 297655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193" h="309561">
                      <a:moveTo>
                        <a:pt x="83344" y="0"/>
                      </a:moveTo>
                      <a:cubicBezTo>
                        <a:pt x="220663" y="47625"/>
                        <a:pt x="286541" y="76199"/>
                        <a:pt x="407193" y="185737"/>
                      </a:cubicBezTo>
                      <a:lnTo>
                        <a:pt x="323851" y="309561"/>
                      </a:lnTo>
                      <a:cubicBezTo>
                        <a:pt x="288926" y="246854"/>
                        <a:pt x="127795" y="148430"/>
                        <a:pt x="0" y="130968"/>
                      </a:cubicBezTo>
                      <a:cubicBezTo>
                        <a:pt x="50799" y="103187"/>
                        <a:pt x="77789" y="53974"/>
                        <a:pt x="83344" y="0"/>
                      </a:cubicBez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5" name="Rectangle 6"/>
                <p:cNvSpPr/>
                <p:nvPr/>
              </p:nvSpPr>
              <p:spPr>
                <a:xfrm rot="1800000">
                  <a:off x="3887126" y="2212407"/>
                  <a:ext cx="190770" cy="25373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  <a:gd name="connsiteX0" fmla="*/ 49005 w 520302"/>
                    <a:gd name="connsiteY0" fmla="*/ 0 h 548528"/>
                    <a:gd name="connsiteX1" fmla="*/ 520302 w 520302"/>
                    <a:gd name="connsiteY1" fmla="*/ 340068 h 548528"/>
                    <a:gd name="connsiteX2" fmla="*/ 391995 w 520302"/>
                    <a:gd name="connsiteY2" fmla="*/ 548528 h 548528"/>
                    <a:gd name="connsiteX3" fmla="*/ 0 w 520302"/>
                    <a:gd name="connsiteY3" fmla="*/ 148532 h 548528"/>
                    <a:gd name="connsiteX4" fmla="*/ 49005 w 520302"/>
                    <a:gd name="connsiteY4" fmla="*/ 0 h 548528"/>
                    <a:gd name="connsiteX0" fmla="*/ 49005 w 444358"/>
                    <a:gd name="connsiteY0" fmla="*/ 0 h 548528"/>
                    <a:gd name="connsiteX1" fmla="*/ 444358 w 444358"/>
                    <a:gd name="connsiteY1" fmla="*/ 265680 h 548528"/>
                    <a:gd name="connsiteX2" fmla="*/ 391995 w 444358"/>
                    <a:gd name="connsiteY2" fmla="*/ 548528 h 548528"/>
                    <a:gd name="connsiteX3" fmla="*/ 0 w 444358"/>
                    <a:gd name="connsiteY3" fmla="*/ 148532 h 548528"/>
                    <a:gd name="connsiteX4" fmla="*/ 49005 w 444358"/>
                    <a:gd name="connsiteY4" fmla="*/ 0 h 548528"/>
                    <a:gd name="connsiteX0" fmla="*/ 49005 w 448802"/>
                    <a:gd name="connsiteY0" fmla="*/ 0 h 548528"/>
                    <a:gd name="connsiteX1" fmla="*/ 448802 w 448802"/>
                    <a:gd name="connsiteY1" fmla="*/ 268615 h 548528"/>
                    <a:gd name="connsiteX2" fmla="*/ 391995 w 448802"/>
                    <a:gd name="connsiteY2" fmla="*/ 548528 h 548528"/>
                    <a:gd name="connsiteX3" fmla="*/ 0 w 448802"/>
                    <a:gd name="connsiteY3" fmla="*/ 148532 h 548528"/>
                    <a:gd name="connsiteX4" fmla="*/ 49005 w 44880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942" h="545275">
                      <a:moveTo>
                        <a:pt x="2272" y="0"/>
                      </a:moveTo>
                      <a:cubicBezTo>
                        <a:pt x="137358" y="21813"/>
                        <a:pt x="292369" y="121357"/>
                        <a:pt x="402942" y="265362"/>
                      </a:cubicBezTo>
                      <a:cubicBezTo>
                        <a:pt x="366267" y="288253"/>
                        <a:pt x="324638" y="459732"/>
                        <a:pt x="346135" y="545275"/>
                      </a:cubicBezTo>
                      <a:cubicBezTo>
                        <a:pt x="317459" y="439900"/>
                        <a:pt x="136363" y="189232"/>
                        <a:pt x="0" y="162797"/>
                      </a:cubicBezTo>
                      <a:cubicBezTo>
                        <a:pt x="1048" y="107447"/>
                        <a:pt x="1224" y="55350"/>
                        <a:pt x="2272" y="0"/>
                      </a:cubicBez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56" name="Rectangle 7"/>
                <p:cNvSpPr/>
                <p:nvPr/>
              </p:nvSpPr>
              <p:spPr>
                <a:xfrm>
                  <a:off x="3327366" y="2502665"/>
                  <a:ext cx="426376" cy="304302"/>
                </a:xfrm>
                <a:custGeom>
                  <a:avLst/>
                  <a:gdLst>
                    <a:gd name="connsiteX0" fmla="*/ 0 w 45719"/>
                    <a:gd name="connsiteY0" fmla="*/ 0 h 296052"/>
                    <a:gd name="connsiteX1" fmla="*/ 45719 w 45719"/>
                    <a:gd name="connsiteY1" fmla="*/ 0 h 296052"/>
                    <a:gd name="connsiteX2" fmla="*/ 45719 w 45719"/>
                    <a:gd name="connsiteY2" fmla="*/ 296052 h 296052"/>
                    <a:gd name="connsiteX3" fmla="*/ 0 w 45719"/>
                    <a:gd name="connsiteY3" fmla="*/ 296052 h 296052"/>
                    <a:gd name="connsiteX4" fmla="*/ 0 w 45719"/>
                    <a:gd name="connsiteY4" fmla="*/ 0 h 296052"/>
                    <a:gd name="connsiteX0" fmla="*/ 0 w 355282"/>
                    <a:gd name="connsiteY0" fmla="*/ 0 h 343677"/>
                    <a:gd name="connsiteX1" fmla="*/ 355282 w 355282"/>
                    <a:gd name="connsiteY1" fmla="*/ 47625 h 343677"/>
                    <a:gd name="connsiteX2" fmla="*/ 355282 w 355282"/>
                    <a:gd name="connsiteY2" fmla="*/ 343677 h 343677"/>
                    <a:gd name="connsiteX3" fmla="*/ 309563 w 355282"/>
                    <a:gd name="connsiteY3" fmla="*/ 343677 h 343677"/>
                    <a:gd name="connsiteX4" fmla="*/ 0 w 355282"/>
                    <a:gd name="connsiteY4" fmla="*/ 0 h 343677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309563 w 905350"/>
                    <a:gd name="connsiteY3" fmla="*/ 343677 h 665146"/>
                    <a:gd name="connsiteX4" fmla="*/ 0 w 905350"/>
                    <a:gd name="connsiteY4" fmla="*/ 0 h 665146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0 w 905350"/>
                    <a:gd name="connsiteY3" fmla="*/ 0 h 665146"/>
                    <a:gd name="connsiteX0" fmla="*/ 0 w 905350"/>
                    <a:gd name="connsiteY0" fmla="*/ 0 h 665286"/>
                    <a:gd name="connsiteX1" fmla="*/ 355282 w 905350"/>
                    <a:gd name="connsiteY1" fmla="*/ 47625 h 665286"/>
                    <a:gd name="connsiteX2" fmla="*/ 905350 w 905350"/>
                    <a:gd name="connsiteY2" fmla="*/ 665146 h 665286"/>
                    <a:gd name="connsiteX3" fmla="*/ 0 w 905350"/>
                    <a:gd name="connsiteY3" fmla="*/ 0 h 665286"/>
                    <a:gd name="connsiteX0" fmla="*/ 0 w 902969"/>
                    <a:gd name="connsiteY0" fmla="*/ 0 h 658144"/>
                    <a:gd name="connsiteX1" fmla="*/ 355282 w 902969"/>
                    <a:gd name="connsiteY1" fmla="*/ 47625 h 658144"/>
                    <a:gd name="connsiteX2" fmla="*/ 902969 w 902969"/>
                    <a:gd name="connsiteY2" fmla="*/ 658002 h 658144"/>
                    <a:gd name="connsiteX3" fmla="*/ 0 w 902969"/>
                    <a:gd name="connsiteY3" fmla="*/ 0 h 658144"/>
                    <a:gd name="connsiteX0" fmla="*/ 0 w 895825"/>
                    <a:gd name="connsiteY0" fmla="*/ 0 h 660525"/>
                    <a:gd name="connsiteX1" fmla="*/ 348138 w 895825"/>
                    <a:gd name="connsiteY1" fmla="*/ 50007 h 660525"/>
                    <a:gd name="connsiteX2" fmla="*/ 895825 w 895825"/>
                    <a:gd name="connsiteY2" fmla="*/ 660384 h 660525"/>
                    <a:gd name="connsiteX3" fmla="*/ 0 w 895825"/>
                    <a:gd name="connsiteY3" fmla="*/ 0 h 660525"/>
                    <a:gd name="connsiteX0" fmla="*/ 0 w 895825"/>
                    <a:gd name="connsiteY0" fmla="*/ 0 h 660561"/>
                    <a:gd name="connsiteX1" fmla="*/ 348138 w 895825"/>
                    <a:gd name="connsiteY1" fmla="*/ 50007 h 660561"/>
                    <a:gd name="connsiteX2" fmla="*/ 895825 w 895825"/>
                    <a:gd name="connsiteY2" fmla="*/ 660384 h 660561"/>
                    <a:gd name="connsiteX3" fmla="*/ 0 w 895825"/>
                    <a:gd name="connsiteY3" fmla="*/ 0 h 660561"/>
                    <a:gd name="connsiteX0" fmla="*/ 0 w 895825"/>
                    <a:gd name="connsiteY0" fmla="*/ 0 h 660426"/>
                    <a:gd name="connsiteX1" fmla="*/ 348138 w 895825"/>
                    <a:gd name="connsiteY1" fmla="*/ 50007 h 660426"/>
                    <a:gd name="connsiteX2" fmla="*/ 895825 w 895825"/>
                    <a:gd name="connsiteY2" fmla="*/ 660384 h 660426"/>
                    <a:gd name="connsiteX3" fmla="*/ 0 w 895825"/>
                    <a:gd name="connsiteY3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900587"/>
                    <a:gd name="connsiteY0" fmla="*/ 0 h 653284"/>
                    <a:gd name="connsiteX1" fmla="*/ 900587 w 900587"/>
                    <a:gd name="connsiteY1" fmla="*/ 653241 h 653284"/>
                    <a:gd name="connsiteX2" fmla="*/ 0 w 900587"/>
                    <a:gd name="connsiteY2" fmla="*/ 0 h 653284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0587" h="653951">
                      <a:moveTo>
                        <a:pt x="0" y="0"/>
                      </a:moveTo>
                      <a:cubicBezTo>
                        <a:pt x="115251" y="279659"/>
                        <a:pt x="432910" y="642663"/>
                        <a:pt x="900587" y="653241"/>
                      </a:cubicBezTo>
                      <a:cubicBezTo>
                        <a:pt x="420210" y="672031"/>
                        <a:pt x="80327" y="314584"/>
                        <a:pt x="0" y="0"/>
                      </a:cubicBez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449" name="Rectangle 163"/>
              <p:cNvSpPr>
                <a:spLocks noChangeArrowheads="1"/>
              </p:cNvSpPr>
              <p:nvPr/>
            </p:nvSpPr>
            <p:spPr bwMode="auto">
              <a:xfrm>
                <a:off x="3404648" y="2718565"/>
                <a:ext cx="392153" cy="492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US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itchFamily="34" charset="0"/>
                    <a:ea typeface="ＭＳ Ｐゴシック" pitchFamily="1" charset="-128"/>
                    <a:cs typeface="Arial" pitchFamily="34" charset="0"/>
                  </a:rPr>
                  <a:t>F</a:t>
                </a:r>
              </a:p>
            </p:txBody>
          </p:sp>
          <p:sp>
            <p:nvSpPr>
              <p:cNvPr id="450" name="Oval 449"/>
              <p:cNvSpPr/>
              <p:nvPr/>
            </p:nvSpPr>
            <p:spPr>
              <a:xfrm>
                <a:off x="3450572" y="2761541"/>
                <a:ext cx="295249" cy="198738"/>
              </a:xfrm>
              <a:prstGeom prst="ellipse">
                <a:avLst/>
              </a:prstGeom>
              <a:gradFill>
                <a:gsLst>
                  <a:gs pos="100000">
                    <a:sysClr val="window" lastClr="FFFFFF">
                      <a:alpha val="0"/>
                    </a:sysClr>
                  </a:gs>
                  <a:gs pos="0">
                    <a:srgbClr val="009187">
                      <a:lumMod val="20000"/>
                      <a:lumOff val="8000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59" name="Group 458"/>
          <p:cNvGrpSpPr>
            <a:grpSpLocks/>
          </p:cNvGrpSpPr>
          <p:nvPr/>
        </p:nvGrpSpPr>
        <p:grpSpPr bwMode="auto">
          <a:xfrm>
            <a:off x="5811838" y="863600"/>
            <a:ext cx="1217612" cy="622300"/>
            <a:chOff x="5812534" y="1150887"/>
            <a:chExt cx="1216152" cy="830219"/>
          </a:xfrm>
        </p:grpSpPr>
        <p:grpSp>
          <p:nvGrpSpPr>
            <p:cNvPr id="32830" name="Group 459"/>
            <p:cNvGrpSpPr>
              <a:grpSpLocks/>
            </p:cNvGrpSpPr>
            <p:nvPr/>
          </p:nvGrpSpPr>
          <p:grpSpPr bwMode="auto">
            <a:xfrm>
              <a:off x="5812534" y="1157422"/>
              <a:ext cx="1216152" cy="823684"/>
              <a:chOff x="5817729" y="1157422"/>
              <a:chExt cx="1216152" cy="823684"/>
            </a:xfrm>
          </p:grpSpPr>
          <p:sp>
            <p:nvSpPr>
              <p:cNvPr id="471" name="Rectangle 257"/>
              <p:cNvSpPr>
                <a:spLocks noChangeArrowheads="1"/>
              </p:cNvSpPr>
              <p:nvPr/>
            </p:nvSpPr>
            <p:spPr bwMode="auto">
              <a:xfrm>
                <a:off x="5817729" y="1761650"/>
                <a:ext cx="1216152" cy="219456"/>
              </a:xfrm>
              <a:prstGeom prst="roundRect">
                <a:avLst/>
              </a:prstGeom>
              <a:solidFill>
                <a:srgbClr val="009187">
                  <a:lumMod val="50000"/>
                </a:srgbClr>
              </a:solidFill>
              <a:ln w="127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2" name="Freeform 471"/>
              <p:cNvSpPr>
                <a:spLocks noChangeArrowheads="1"/>
              </p:cNvSpPr>
              <p:nvPr/>
            </p:nvSpPr>
            <p:spPr bwMode="auto">
              <a:xfrm rot="16200000">
                <a:off x="6031942" y="943210"/>
                <a:ext cx="784231" cy="1212656"/>
              </a:xfrm>
              <a:custGeom>
                <a:avLst/>
                <a:gdLst>
                  <a:gd name="connsiteX0" fmla="*/ 784231 w 784231"/>
                  <a:gd name="connsiteY0" fmla="*/ 404616 h 1212656"/>
                  <a:gd name="connsiteX1" fmla="*/ 559350 w 784231"/>
                  <a:gd name="connsiteY1" fmla="*/ 633419 h 1212656"/>
                  <a:gd name="connsiteX2" fmla="*/ 471816 w 784231"/>
                  <a:gd name="connsiteY2" fmla="*/ 615439 h 1212656"/>
                  <a:gd name="connsiteX3" fmla="*/ 433719 w 784231"/>
                  <a:gd name="connsiteY3" fmla="*/ 594399 h 1212656"/>
                  <a:gd name="connsiteX4" fmla="*/ 433719 w 784231"/>
                  <a:gd name="connsiteY4" fmla="*/ 595028 h 1212656"/>
                  <a:gd name="connsiteX5" fmla="*/ 198993 w 784231"/>
                  <a:gd name="connsiteY5" fmla="*/ 538229 h 1212656"/>
                  <a:gd name="connsiteX6" fmla="*/ 180000 w 784231"/>
                  <a:gd name="connsiteY6" fmla="*/ 574493 h 1212656"/>
                  <a:gd name="connsiteX7" fmla="*/ 180000 w 784231"/>
                  <a:gd name="connsiteY7" fmla="*/ 1177802 h 1212656"/>
                  <a:gd name="connsiteX8" fmla="*/ 180000 w 784231"/>
                  <a:gd name="connsiteY8" fmla="*/ 1198849 h 1212656"/>
                  <a:gd name="connsiteX9" fmla="*/ 149999 w 784231"/>
                  <a:gd name="connsiteY9" fmla="*/ 1212656 h 1212656"/>
                  <a:gd name="connsiteX10" fmla="*/ 30001 w 784231"/>
                  <a:gd name="connsiteY10" fmla="*/ 1212656 h 1212656"/>
                  <a:gd name="connsiteX11" fmla="*/ 0 w 784231"/>
                  <a:gd name="connsiteY11" fmla="*/ 1198849 h 1212656"/>
                  <a:gd name="connsiteX12" fmla="*/ 0 w 784231"/>
                  <a:gd name="connsiteY12" fmla="*/ 13807 h 1212656"/>
                  <a:gd name="connsiteX13" fmla="*/ 30001 w 784231"/>
                  <a:gd name="connsiteY13" fmla="*/ 0 h 1212656"/>
                  <a:gd name="connsiteX14" fmla="*/ 149999 w 784231"/>
                  <a:gd name="connsiteY14" fmla="*/ 0 h 1212656"/>
                  <a:gd name="connsiteX15" fmla="*/ 180000 w 784231"/>
                  <a:gd name="connsiteY15" fmla="*/ 13807 h 1212656"/>
                  <a:gd name="connsiteX16" fmla="*/ 180000 w 784231"/>
                  <a:gd name="connsiteY16" fmla="*/ 32832 h 1212656"/>
                  <a:gd name="connsiteX17" fmla="*/ 180000 w 784231"/>
                  <a:gd name="connsiteY17" fmla="*/ 228904 h 1212656"/>
                  <a:gd name="connsiteX18" fmla="*/ 204752 w 784231"/>
                  <a:gd name="connsiteY18" fmla="*/ 262384 h 1212656"/>
                  <a:gd name="connsiteX19" fmla="*/ 433719 w 784231"/>
                  <a:gd name="connsiteY19" fmla="*/ 214356 h 1212656"/>
                  <a:gd name="connsiteX20" fmla="*/ 471816 w 784231"/>
                  <a:gd name="connsiteY20" fmla="*/ 193794 h 1212656"/>
                  <a:gd name="connsiteX21" fmla="*/ 559350 w 784231"/>
                  <a:gd name="connsiteY21" fmla="*/ 175813 h 1212656"/>
                  <a:gd name="connsiteX22" fmla="*/ 784231 w 784231"/>
                  <a:gd name="connsiteY22" fmla="*/ 404616 h 1212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84231" h="1212656">
                    <a:moveTo>
                      <a:pt x="784231" y="404616"/>
                    </a:moveTo>
                    <a:cubicBezTo>
                      <a:pt x="784231" y="530980"/>
                      <a:pt x="683548" y="633419"/>
                      <a:pt x="559350" y="633419"/>
                    </a:cubicBezTo>
                    <a:cubicBezTo>
                      <a:pt x="528301" y="633419"/>
                      <a:pt x="498721" y="627017"/>
                      <a:pt x="471816" y="615439"/>
                    </a:cubicBezTo>
                    <a:lnTo>
                      <a:pt x="433719" y="594399"/>
                    </a:lnTo>
                    <a:lnTo>
                      <a:pt x="433719" y="595028"/>
                    </a:lnTo>
                    <a:cubicBezTo>
                      <a:pt x="315079" y="507504"/>
                      <a:pt x="239858" y="497415"/>
                      <a:pt x="198993" y="538229"/>
                    </a:cubicBezTo>
                    <a:lnTo>
                      <a:pt x="180000" y="574493"/>
                    </a:lnTo>
                    <a:lnTo>
                      <a:pt x="180000" y="1177802"/>
                    </a:lnTo>
                    <a:lnTo>
                      <a:pt x="180000" y="1198849"/>
                    </a:lnTo>
                    <a:cubicBezTo>
                      <a:pt x="180000" y="1206475"/>
                      <a:pt x="166568" y="1212656"/>
                      <a:pt x="149999" y="1212656"/>
                    </a:cubicBezTo>
                    <a:lnTo>
                      <a:pt x="30001" y="1212656"/>
                    </a:lnTo>
                    <a:cubicBezTo>
                      <a:pt x="13432" y="1212656"/>
                      <a:pt x="0" y="1206475"/>
                      <a:pt x="0" y="1198849"/>
                    </a:cubicBezTo>
                    <a:lnTo>
                      <a:pt x="0" y="13807"/>
                    </a:lnTo>
                    <a:cubicBezTo>
                      <a:pt x="0" y="6182"/>
                      <a:pt x="13432" y="0"/>
                      <a:pt x="30001" y="0"/>
                    </a:cubicBezTo>
                    <a:lnTo>
                      <a:pt x="149999" y="0"/>
                    </a:lnTo>
                    <a:cubicBezTo>
                      <a:pt x="166568" y="0"/>
                      <a:pt x="180000" y="6182"/>
                      <a:pt x="180000" y="13807"/>
                    </a:cubicBezTo>
                    <a:lnTo>
                      <a:pt x="180000" y="32832"/>
                    </a:lnTo>
                    <a:lnTo>
                      <a:pt x="180000" y="228904"/>
                    </a:lnTo>
                    <a:lnTo>
                      <a:pt x="204752" y="262384"/>
                    </a:lnTo>
                    <a:cubicBezTo>
                      <a:pt x="248253" y="299293"/>
                      <a:pt x="317947" y="297957"/>
                      <a:pt x="433719" y="214356"/>
                    </a:cubicBezTo>
                    <a:lnTo>
                      <a:pt x="471816" y="193794"/>
                    </a:lnTo>
                    <a:cubicBezTo>
                      <a:pt x="498721" y="182215"/>
                      <a:pt x="528301" y="175813"/>
                      <a:pt x="559350" y="175813"/>
                    </a:cubicBezTo>
                    <a:cubicBezTo>
                      <a:pt x="683548" y="175813"/>
                      <a:pt x="784231" y="278252"/>
                      <a:pt x="784231" y="404616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9187">
                      <a:lumMod val="75000"/>
                    </a:srgbClr>
                  </a:gs>
                  <a:gs pos="100000">
                    <a:srgbClr val="009187">
                      <a:lumMod val="60000"/>
                      <a:lumOff val="40000"/>
                    </a:srgbClr>
                  </a:gs>
                  <a:gs pos="14000">
                    <a:srgbClr val="009187"/>
                  </a:gs>
                  <a:gs pos="79000">
                    <a:srgbClr val="009187">
                      <a:lumMod val="75000"/>
                    </a:srgbClr>
                  </a:gs>
                </a:gsLst>
                <a:lin ang="0" scaled="1"/>
              </a:gradFill>
              <a:ln w="0" cap="flat" cmpd="sng" algn="ctr">
                <a:solidFill>
                  <a:sysClr val="window" lastClr="FFFFFF"/>
                </a:solidFill>
                <a:prstDash val="solid"/>
              </a:ln>
              <a:effectLst/>
              <a:scene3d>
                <a:camera prst="orthographicFront"/>
                <a:lightRig rig="threePt" dir="t">
                  <a:rot lat="0" lon="0" rev="7200000"/>
                </a:lightRig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2831" name="Group 460"/>
            <p:cNvGrpSpPr>
              <a:grpSpLocks/>
            </p:cNvGrpSpPr>
            <p:nvPr/>
          </p:nvGrpSpPr>
          <p:grpSpPr bwMode="auto">
            <a:xfrm>
              <a:off x="6013121" y="1150887"/>
              <a:ext cx="413168" cy="492443"/>
              <a:chOff x="6013121" y="1150887"/>
              <a:chExt cx="413168" cy="492443"/>
            </a:xfrm>
          </p:grpSpPr>
          <p:grpSp>
            <p:nvGrpSpPr>
              <p:cNvPr id="462" name="Group 461"/>
              <p:cNvGrpSpPr/>
              <p:nvPr/>
            </p:nvGrpSpPr>
            <p:grpSpPr>
              <a:xfrm>
                <a:off x="6013121" y="1181771"/>
                <a:ext cx="413168" cy="401064"/>
                <a:chOff x="3297503" y="1960055"/>
                <a:chExt cx="896104" cy="869855"/>
              </a:xfrm>
              <a:effectLst>
                <a:outerShdw blurRad="50800" sx="101000" sy="101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65" name="Oval 464"/>
                <p:cNvSpPr/>
                <p:nvPr/>
              </p:nvSpPr>
              <p:spPr>
                <a:xfrm>
                  <a:off x="3297503" y="1960054"/>
                  <a:ext cx="885022" cy="869855"/>
                </a:xfrm>
                <a:prstGeom prst="ellipse">
                  <a:avLst/>
                </a:prstGeom>
                <a:gradFill>
                  <a:gsLst>
                    <a:gs pos="77000">
                      <a:srgbClr val="FFFF00"/>
                    </a:gs>
                    <a:gs pos="0">
                      <a:srgbClr val="FFFF66"/>
                    </a:gs>
                  </a:gsLst>
                  <a:lin ang="13500000" scaled="1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6" name="Rectangle 6"/>
                <p:cNvSpPr/>
                <p:nvPr/>
              </p:nvSpPr>
              <p:spPr>
                <a:xfrm>
                  <a:off x="3780801" y="1988495"/>
                  <a:ext cx="235623" cy="15291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681" h="328612">
                      <a:moveTo>
                        <a:pt x="0" y="0"/>
                      </a:moveTo>
                      <a:cubicBezTo>
                        <a:pt x="108744" y="9525"/>
                        <a:pt x="369886" y="64294"/>
                        <a:pt x="497681" y="228600"/>
                      </a:cubicBezTo>
                      <a:lnTo>
                        <a:pt x="381001" y="328612"/>
                      </a:lnTo>
                      <a:cubicBezTo>
                        <a:pt x="350838" y="287336"/>
                        <a:pt x="168276" y="172244"/>
                        <a:pt x="35719" y="1381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7" name="Rectangle 6"/>
                <p:cNvSpPr/>
                <p:nvPr/>
              </p:nvSpPr>
              <p:spPr>
                <a:xfrm rot="1800000">
                  <a:off x="3947274" y="2149700"/>
                  <a:ext cx="246333" cy="19595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0302" h="421115">
                      <a:moveTo>
                        <a:pt x="49005" y="0"/>
                      </a:moveTo>
                      <a:cubicBezTo>
                        <a:pt x="162745" y="3891"/>
                        <a:pt x="407262" y="172741"/>
                        <a:pt x="520302" y="340068"/>
                      </a:cubicBezTo>
                      <a:cubicBezTo>
                        <a:pt x="474101" y="346461"/>
                        <a:pt x="438701" y="390612"/>
                        <a:pt x="417419" y="421115"/>
                      </a:cubicBezTo>
                      <a:cubicBezTo>
                        <a:pt x="363125" y="333280"/>
                        <a:pt x="138104" y="168461"/>
                        <a:pt x="0" y="148532"/>
                      </a:cubicBezTo>
                      <a:lnTo>
                        <a:pt x="49005" y="0"/>
                      </a:ln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8" name="Rectangle 6"/>
                <p:cNvSpPr/>
                <p:nvPr/>
              </p:nvSpPr>
              <p:spPr>
                <a:xfrm>
                  <a:off x="3753290" y="2070492"/>
                  <a:ext cx="192782" cy="14404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61962"/>
                    <a:gd name="connsiteY0" fmla="*/ 0 h 328612"/>
                    <a:gd name="connsiteX1" fmla="*/ 461962 w 461962"/>
                    <a:gd name="connsiteY1" fmla="*/ 197644 h 328612"/>
                    <a:gd name="connsiteX2" fmla="*/ 381001 w 461962"/>
                    <a:gd name="connsiteY2" fmla="*/ 328612 h 328612"/>
                    <a:gd name="connsiteX3" fmla="*/ 35719 w 461962"/>
                    <a:gd name="connsiteY3" fmla="*/ 138113 h 328612"/>
                    <a:gd name="connsiteX4" fmla="*/ 0 w 461962"/>
                    <a:gd name="connsiteY4" fmla="*/ 0 h 328612"/>
                    <a:gd name="connsiteX0" fmla="*/ 0 w 461962"/>
                    <a:gd name="connsiteY0" fmla="*/ 0 h 319087"/>
                    <a:gd name="connsiteX1" fmla="*/ 461962 w 461962"/>
                    <a:gd name="connsiteY1" fmla="*/ 197644 h 319087"/>
                    <a:gd name="connsiteX2" fmla="*/ 381001 w 461962"/>
                    <a:gd name="connsiteY2" fmla="*/ 319087 h 319087"/>
                    <a:gd name="connsiteX3" fmla="*/ 35719 w 461962"/>
                    <a:gd name="connsiteY3" fmla="*/ 138113 h 319087"/>
                    <a:gd name="connsiteX4" fmla="*/ 0 w 461962"/>
                    <a:gd name="connsiteY4" fmla="*/ 0 h 319087"/>
                    <a:gd name="connsiteX0" fmla="*/ 100012 w 426243"/>
                    <a:gd name="connsiteY0" fmla="*/ 0 h 295274"/>
                    <a:gd name="connsiteX1" fmla="*/ 426243 w 426243"/>
                    <a:gd name="connsiteY1" fmla="*/ 173831 h 295274"/>
                    <a:gd name="connsiteX2" fmla="*/ 345282 w 426243"/>
                    <a:gd name="connsiteY2" fmla="*/ 295274 h 295274"/>
                    <a:gd name="connsiteX3" fmla="*/ 0 w 426243"/>
                    <a:gd name="connsiteY3" fmla="*/ 114300 h 295274"/>
                    <a:gd name="connsiteX4" fmla="*/ 100012 w 426243"/>
                    <a:gd name="connsiteY4" fmla="*/ 0 h 295274"/>
                    <a:gd name="connsiteX0" fmla="*/ 71437 w 397668"/>
                    <a:gd name="connsiteY0" fmla="*/ 0 h 295274"/>
                    <a:gd name="connsiteX1" fmla="*/ 397668 w 397668"/>
                    <a:gd name="connsiteY1" fmla="*/ 173831 h 295274"/>
                    <a:gd name="connsiteX2" fmla="*/ 316707 w 397668"/>
                    <a:gd name="connsiteY2" fmla="*/ 295274 h 295274"/>
                    <a:gd name="connsiteX3" fmla="*/ 0 w 397668"/>
                    <a:gd name="connsiteY3" fmla="*/ 107156 h 295274"/>
                    <a:gd name="connsiteX4" fmla="*/ 71437 w 397668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7655"/>
                    <a:gd name="connsiteX1" fmla="*/ 407193 w 407193"/>
                    <a:gd name="connsiteY1" fmla="*/ 173831 h 297655"/>
                    <a:gd name="connsiteX2" fmla="*/ 323851 w 407193"/>
                    <a:gd name="connsiteY2" fmla="*/ 297655 h 297655"/>
                    <a:gd name="connsiteX3" fmla="*/ 0 w 407193"/>
                    <a:gd name="connsiteY3" fmla="*/ 119062 h 297655"/>
                    <a:gd name="connsiteX4" fmla="*/ 80962 w 407193"/>
                    <a:gd name="connsiteY4" fmla="*/ 0 h 297655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193" h="309561">
                      <a:moveTo>
                        <a:pt x="83344" y="0"/>
                      </a:moveTo>
                      <a:cubicBezTo>
                        <a:pt x="220663" y="47625"/>
                        <a:pt x="286541" y="76199"/>
                        <a:pt x="407193" y="185737"/>
                      </a:cubicBezTo>
                      <a:lnTo>
                        <a:pt x="323851" y="309561"/>
                      </a:lnTo>
                      <a:cubicBezTo>
                        <a:pt x="288926" y="246854"/>
                        <a:pt x="127795" y="148430"/>
                        <a:pt x="0" y="130968"/>
                      </a:cubicBezTo>
                      <a:cubicBezTo>
                        <a:pt x="50799" y="103187"/>
                        <a:pt x="77789" y="53974"/>
                        <a:pt x="83344" y="0"/>
                      </a:cubicBez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69" name="Rectangle 6"/>
                <p:cNvSpPr/>
                <p:nvPr/>
              </p:nvSpPr>
              <p:spPr>
                <a:xfrm rot="1800000">
                  <a:off x="3887126" y="2212407"/>
                  <a:ext cx="190770" cy="25373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  <a:gd name="connsiteX0" fmla="*/ 49005 w 520302"/>
                    <a:gd name="connsiteY0" fmla="*/ 0 h 548528"/>
                    <a:gd name="connsiteX1" fmla="*/ 520302 w 520302"/>
                    <a:gd name="connsiteY1" fmla="*/ 340068 h 548528"/>
                    <a:gd name="connsiteX2" fmla="*/ 391995 w 520302"/>
                    <a:gd name="connsiteY2" fmla="*/ 548528 h 548528"/>
                    <a:gd name="connsiteX3" fmla="*/ 0 w 520302"/>
                    <a:gd name="connsiteY3" fmla="*/ 148532 h 548528"/>
                    <a:gd name="connsiteX4" fmla="*/ 49005 w 520302"/>
                    <a:gd name="connsiteY4" fmla="*/ 0 h 548528"/>
                    <a:gd name="connsiteX0" fmla="*/ 49005 w 444358"/>
                    <a:gd name="connsiteY0" fmla="*/ 0 h 548528"/>
                    <a:gd name="connsiteX1" fmla="*/ 444358 w 444358"/>
                    <a:gd name="connsiteY1" fmla="*/ 265680 h 548528"/>
                    <a:gd name="connsiteX2" fmla="*/ 391995 w 444358"/>
                    <a:gd name="connsiteY2" fmla="*/ 548528 h 548528"/>
                    <a:gd name="connsiteX3" fmla="*/ 0 w 444358"/>
                    <a:gd name="connsiteY3" fmla="*/ 148532 h 548528"/>
                    <a:gd name="connsiteX4" fmla="*/ 49005 w 444358"/>
                    <a:gd name="connsiteY4" fmla="*/ 0 h 548528"/>
                    <a:gd name="connsiteX0" fmla="*/ 49005 w 448802"/>
                    <a:gd name="connsiteY0" fmla="*/ 0 h 548528"/>
                    <a:gd name="connsiteX1" fmla="*/ 448802 w 448802"/>
                    <a:gd name="connsiteY1" fmla="*/ 268615 h 548528"/>
                    <a:gd name="connsiteX2" fmla="*/ 391995 w 448802"/>
                    <a:gd name="connsiteY2" fmla="*/ 548528 h 548528"/>
                    <a:gd name="connsiteX3" fmla="*/ 0 w 448802"/>
                    <a:gd name="connsiteY3" fmla="*/ 148532 h 548528"/>
                    <a:gd name="connsiteX4" fmla="*/ 49005 w 44880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942" h="545275">
                      <a:moveTo>
                        <a:pt x="2272" y="0"/>
                      </a:moveTo>
                      <a:cubicBezTo>
                        <a:pt x="137358" y="21813"/>
                        <a:pt x="292369" y="121357"/>
                        <a:pt x="402942" y="265362"/>
                      </a:cubicBezTo>
                      <a:cubicBezTo>
                        <a:pt x="366267" y="288253"/>
                        <a:pt x="324638" y="459732"/>
                        <a:pt x="346135" y="545275"/>
                      </a:cubicBezTo>
                      <a:cubicBezTo>
                        <a:pt x="317459" y="439900"/>
                        <a:pt x="136363" y="189232"/>
                        <a:pt x="0" y="162797"/>
                      </a:cubicBezTo>
                      <a:cubicBezTo>
                        <a:pt x="1048" y="107447"/>
                        <a:pt x="1224" y="55350"/>
                        <a:pt x="2272" y="0"/>
                      </a:cubicBez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70" name="Rectangle 7"/>
                <p:cNvSpPr/>
                <p:nvPr/>
              </p:nvSpPr>
              <p:spPr>
                <a:xfrm>
                  <a:off x="3327366" y="2502665"/>
                  <a:ext cx="426376" cy="304302"/>
                </a:xfrm>
                <a:custGeom>
                  <a:avLst/>
                  <a:gdLst>
                    <a:gd name="connsiteX0" fmla="*/ 0 w 45719"/>
                    <a:gd name="connsiteY0" fmla="*/ 0 h 296052"/>
                    <a:gd name="connsiteX1" fmla="*/ 45719 w 45719"/>
                    <a:gd name="connsiteY1" fmla="*/ 0 h 296052"/>
                    <a:gd name="connsiteX2" fmla="*/ 45719 w 45719"/>
                    <a:gd name="connsiteY2" fmla="*/ 296052 h 296052"/>
                    <a:gd name="connsiteX3" fmla="*/ 0 w 45719"/>
                    <a:gd name="connsiteY3" fmla="*/ 296052 h 296052"/>
                    <a:gd name="connsiteX4" fmla="*/ 0 w 45719"/>
                    <a:gd name="connsiteY4" fmla="*/ 0 h 296052"/>
                    <a:gd name="connsiteX0" fmla="*/ 0 w 355282"/>
                    <a:gd name="connsiteY0" fmla="*/ 0 h 343677"/>
                    <a:gd name="connsiteX1" fmla="*/ 355282 w 355282"/>
                    <a:gd name="connsiteY1" fmla="*/ 47625 h 343677"/>
                    <a:gd name="connsiteX2" fmla="*/ 355282 w 355282"/>
                    <a:gd name="connsiteY2" fmla="*/ 343677 h 343677"/>
                    <a:gd name="connsiteX3" fmla="*/ 309563 w 355282"/>
                    <a:gd name="connsiteY3" fmla="*/ 343677 h 343677"/>
                    <a:gd name="connsiteX4" fmla="*/ 0 w 355282"/>
                    <a:gd name="connsiteY4" fmla="*/ 0 h 343677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309563 w 905350"/>
                    <a:gd name="connsiteY3" fmla="*/ 343677 h 665146"/>
                    <a:gd name="connsiteX4" fmla="*/ 0 w 905350"/>
                    <a:gd name="connsiteY4" fmla="*/ 0 h 665146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0 w 905350"/>
                    <a:gd name="connsiteY3" fmla="*/ 0 h 665146"/>
                    <a:gd name="connsiteX0" fmla="*/ 0 w 905350"/>
                    <a:gd name="connsiteY0" fmla="*/ 0 h 665286"/>
                    <a:gd name="connsiteX1" fmla="*/ 355282 w 905350"/>
                    <a:gd name="connsiteY1" fmla="*/ 47625 h 665286"/>
                    <a:gd name="connsiteX2" fmla="*/ 905350 w 905350"/>
                    <a:gd name="connsiteY2" fmla="*/ 665146 h 665286"/>
                    <a:gd name="connsiteX3" fmla="*/ 0 w 905350"/>
                    <a:gd name="connsiteY3" fmla="*/ 0 h 665286"/>
                    <a:gd name="connsiteX0" fmla="*/ 0 w 902969"/>
                    <a:gd name="connsiteY0" fmla="*/ 0 h 658144"/>
                    <a:gd name="connsiteX1" fmla="*/ 355282 w 902969"/>
                    <a:gd name="connsiteY1" fmla="*/ 47625 h 658144"/>
                    <a:gd name="connsiteX2" fmla="*/ 902969 w 902969"/>
                    <a:gd name="connsiteY2" fmla="*/ 658002 h 658144"/>
                    <a:gd name="connsiteX3" fmla="*/ 0 w 902969"/>
                    <a:gd name="connsiteY3" fmla="*/ 0 h 658144"/>
                    <a:gd name="connsiteX0" fmla="*/ 0 w 895825"/>
                    <a:gd name="connsiteY0" fmla="*/ 0 h 660525"/>
                    <a:gd name="connsiteX1" fmla="*/ 348138 w 895825"/>
                    <a:gd name="connsiteY1" fmla="*/ 50007 h 660525"/>
                    <a:gd name="connsiteX2" fmla="*/ 895825 w 895825"/>
                    <a:gd name="connsiteY2" fmla="*/ 660384 h 660525"/>
                    <a:gd name="connsiteX3" fmla="*/ 0 w 895825"/>
                    <a:gd name="connsiteY3" fmla="*/ 0 h 660525"/>
                    <a:gd name="connsiteX0" fmla="*/ 0 w 895825"/>
                    <a:gd name="connsiteY0" fmla="*/ 0 h 660561"/>
                    <a:gd name="connsiteX1" fmla="*/ 348138 w 895825"/>
                    <a:gd name="connsiteY1" fmla="*/ 50007 h 660561"/>
                    <a:gd name="connsiteX2" fmla="*/ 895825 w 895825"/>
                    <a:gd name="connsiteY2" fmla="*/ 660384 h 660561"/>
                    <a:gd name="connsiteX3" fmla="*/ 0 w 895825"/>
                    <a:gd name="connsiteY3" fmla="*/ 0 h 660561"/>
                    <a:gd name="connsiteX0" fmla="*/ 0 w 895825"/>
                    <a:gd name="connsiteY0" fmla="*/ 0 h 660426"/>
                    <a:gd name="connsiteX1" fmla="*/ 348138 w 895825"/>
                    <a:gd name="connsiteY1" fmla="*/ 50007 h 660426"/>
                    <a:gd name="connsiteX2" fmla="*/ 895825 w 895825"/>
                    <a:gd name="connsiteY2" fmla="*/ 660384 h 660426"/>
                    <a:gd name="connsiteX3" fmla="*/ 0 w 895825"/>
                    <a:gd name="connsiteY3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900587"/>
                    <a:gd name="connsiteY0" fmla="*/ 0 h 653284"/>
                    <a:gd name="connsiteX1" fmla="*/ 900587 w 900587"/>
                    <a:gd name="connsiteY1" fmla="*/ 653241 h 653284"/>
                    <a:gd name="connsiteX2" fmla="*/ 0 w 900587"/>
                    <a:gd name="connsiteY2" fmla="*/ 0 h 653284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0587" h="653951">
                      <a:moveTo>
                        <a:pt x="0" y="0"/>
                      </a:moveTo>
                      <a:cubicBezTo>
                        <a:pt x="115251" y="279659"/>
                        <a:pt x="432910" y="642663"/>
                        <a:pt x="900587" y="653241"/>
                      </a:cubicBezTo>
                      <a:cubicBezTo>
                        <a:pt x="420210" y="672031"/>
                        <a:pt x="80327" y="314584"/>
                        <a:pt x="0" y="0"/>
                      </a:cubicBezTo>
                      <a:close/>
                    </a:path>
                  </a:pathLst>
                </a:custGeom>
                <a:solidFill>
                  <a:srgbClr val="FFC000">
                    <a:alpha val="5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463" name="Rectangle 163"/>
              <p:cNvSpPr>
                <a:spLocks noChangeArrowheads="1"/>
              </p:cNvSpPr>
              <p:nvPr/>
            </p:nvSpPr>
            <p:spPr bwMode="auto">
              <a:xfrm>
                <a:off x="6025004" y="1150887"/>
                <a:ext cx="390057" cy="4934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US" b="1" kern="0" dirty="0">
                    <a:solidFill>
                      <a:srgbClr val="000000"/>
                    </a:solidFill>
                    <a:latin typeface="Arial" pitchFamily="34" charset="0"/>
                    <a:ea typeface="ＭＳ Ｐゴシック" pitchFamily="1" charset="-128"/>
                    <a:cs typeface="Arial" pitchFamily="34" charset="0"/>
                  </a:rPr>
                  <a:t>F</a:t>
                </a:r>
              </a:p>
            </p:txBody>
          </p:sp>
          <p:sp>
            <p:nvSpPr>
              <p:cNvPr id="464" name="Oval 463"/>
              <p:cNvSpPr/>
              <p:nvPr/>
            </p:nvSpPr>
            <p:spPr>
              <a:xfrm>
                <a:off x="6069618" y="1192510"/>
                <a:ext cx="295249" cy="198738"/>
              </a:xfrm>
              <a:prstGeom prst="ellipse">
                <a:avLst/>
              </a:prstGeom>
              <a:gradFill>
                <a:gsLst>
                  <a:gs pos="100000">
                    <a:sysClr val="window" lastClr="FFFFFF">
                      <a:alpha val="0"/>
                    </a:sysClr>
                  </a:gs>
                  <a:gs pos="0">
                    <a:sysClr val="window" lastClr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473" name="Group 472"/>
          <p:cNvGrpSpPr>
            <a:grpSpLocks/>
          </p:cNvGrpSpPr>
          <p:nvPr/>
        </p:nvGrpSpPr>
        <p:grpSpPr bwMode="auto">
          <a:xfrm>
            <a:off x="4405313" y="2038350"/>
            <a:ext cx="1225550" cy="623888"/>
            <a:chOff x="4405513" y="2718565"/>
            <a:chExt cx="1225296" cy="830219"/>
          </a:xfrm>
        </p:grpSpPr>
        <p:grpSp>
          <p:nvGrpSpPr>
            <p:cNvPr id="32817" name="Group 473"/>
            <p:cNvGrpSpPr>
              <a:grpSpLocks/>
            </p:cNvGrpSpPr>
            <p:nvPr/>
          </p:nvGrpSpPr>
          <p:grpSpPr bwMode="auto">
            <a:xfrm>
              <a:off x="4405513" y="2725100"/>
              <a:ext cx="1225296" cy="823684"/>
              <a:chOff x="4405513" y="2725100"/>
              <a:chExt cx="1225296" cy="823684"/>
            </a:xfrm>
          </p:grpSpPr>
          <p:sp>
            <p:nvSpPr>
              <p:cNvPr id="485" name="Rectangle 257"/>
              <p:cNvSpPr>
                <a:spLocks noChangeArrowheads="1"/>
              </p:cNvSpPr>
              <p:nvPr/>
            </p:nvSpPr>
            <p:spPr bwMode="auto">
              <a:xfrm>
                <a:off x="4405513" y="3329328"/>
                <a:ext cx="1225296" cy="219456"/>
              </a:xfrm>
              <a:prstGeom prst="roundRect">
                <a:avLst/>
              </a:prstGeom>
              <a:solidFill>
                <a:srgbClr val="009187">
                  <a:lumMod val="50000"/>
                </a:srgbClr>
              </a:solidFill>
              <a:ln w="127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6" name="Freeform 485"/>
              <p:cNvSpPr>
                <a:spLocks noChangeArrowheads="1"/>
              </p:cNvSpPr>
              <p:nvPr/>
            </p:nvSpPr>
            <p:spPr bwMode="auto">
              <a:xfrm rot="16200000">
                <a:off x="4624285" y="2506329"/>
                <a:ext cx="784231" cy="1221773"/>
              </a:xfrm>
              <a:custGeom>
                <a:avLst/>
                <a:gdLst>
                  <a:gd name="connsiteX0" fmla="*/ 784231 w 784231"/>
                  <a:gd name="connsiteY0" fmla="*/ 824805 h 1221773"/>
                  <a:gd name="connsiteX1" fmla="*/ 559350 w 784231"/>
                  <a:gd name="connsiteY1" fmla="*/ 1053608 h 1221773"/>
                  <a:gd name="connsiteX2" fmla="*/ 471816 w 784231"/>
                  <a:gd name="connsiteY2" fmla="*/ 1035628 h 1221773"/>
                  <a:gd name="connsiteX3" fmla="*/ 433719 w 784231"/>
                  <a:gd name="connsiteY3" fmla="*/ 1014588 h 1221773"/>
                  <a:gd name="connsiteX4" fmla="*/ 433719 w 784231"/>
                  <a:gd name="connsiteY4" fmla="*/ 1015217 h 1221773"/>
                  <a:gd name="connsiteX5" fmla="*/ 198993 w 784231"/>
                  <a:gd name="connsiteY5" fmla="*/ 958418 h 1221773"/>
                  <a:gd name="connsiteX6" fmla="*/ 180000 w 784231"/>
                  <a:gd name="connsiteY6" fmla="*/ 994681 h 1221773"/>
                  <a:gd name="connsiteX7" fmla="*/ 180000 w 784231"/>
                  <a:gd name="connsiteY7" fmla="*/ 1186657 h 1221773"/>
                  <a:gd name="connsiteX8" fmla="*/ 180000 w 784231"/>
                  <a:gd name="connsiteY8" fmla="*/ 1207863 h 1221773"/>
                  <a:gd name="connsiteX9" fmla="*/ 149999 w 784231"/>
                  <a:gd name="connsiteY9" fmla="*/ 1221773 h 1221773"/>
                  <a:gd name="connsiteX10" fmla="*/ 30001 w 784231"/>
                  <a:gd name="connsiteY10" fmla="*/ 1221773 h 1221773"/>
                  <a:gd name="connsiteX11" fmla="*/ 0 w 784231"/>
                  <a:gd name="connsiteY11" fmla="*/ 1207863 h 1221773"/>
                  <a:gd name="connsiteX12" fmla="*/ 0 w 784231"/>
                  <a:gd name="connsiteY12" fmla="*/ 13911 h 1221773"/>
                  <a:gd name="connsiteX13" fmla="*/ 30001 w 784231"/>
                  <a:gd name="connsiteY13" fmla="*/ 0 h 1221773"/>
                  <a:gd name="connsiteX14" fmla="*/ 149999 w 784231"/>
                  <a:gd name="connsiteY14" fmla="*/ 0 h 1221773"/>
                  <a:gd name="connsiteX15" fmla="*/ 180000 w 784231"/>
                  <a:gd name="connsiteY15" fmla="*/ 13911 h 1221773"/>
                  <a:gd name="connsiteX16" fmla="*/ 180000 w 784231"/>
                  <a:gd name="connsiteY16" fmla="*/ 33079 h 1221773"/>
                  <a:gd name="connsiteX17" fmla="*/ 180000 w 784231"/>
                  <a:gd name="connsiteY17" fmla="*/ 649093 h 1221773"/>
                  <a:gd name="connsiteX18" fmla="*/ 204751 w 784231"/>
                  <a:gd name="connsiteY18" fmla="*/ 682572 h 1221773"/>
                  <a:gd name="connsiteX19" fmla="*/ 433719 w 784231"/>
                  <a:gd name="connsiteY19" fmla="*/ 634545 h 1221773"/>
                  <a:gd name="connsiteX20" fmla="*/ 471816 w 784231"/>
                  <a:gd name="connsiteY20" fmla="*/ 613983 h 1221773"/>
                  <a:gd name="connsiteX21" fmla="*/ 559350 w 784231"/>
                  <a:gd name="connsiteY21" fmla="*/ 596002 h 1221773"/>
                  <a:gd name="connsiteX22" fmla="*/ 784231 w 784231"/>
                  <a:gd name="connsiteY22" fmla="*/ 824805 h 1221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84231" h="1221773">
                    <a:moveTo>
                      <a:pt x="784231" y="824805"/>
                    </a:moveTo>
                    <a:cubicBezTo>
                      <a:pt x="784231" y="951169"/>
                      <a:pt x="683548" y="1053608"/>
                      <a:pt x="559350" y="1053608"/>
                    </a:cubicBezTo>
                    <a:cubicBezTo>
                      <a:pt x="528301" y="1053608"/>
                      <a:pt x="498721" y="1047206"/>
                      <a:pt x="471816" y="1035628"/>
                    </a:cubicBezTo>
                    <a:lnTo>
                      <a:pt x="433719" y="1014588"/>
                    </a:lnTo>
                    <a:lnTo>
                      <a:pt x="433719" y="1015217"/>
                    </a:lnTo>
                    <a:cubicBezTo>
                      <a:pt x="315078" y="927692"/>
                      <a:pt x="239857" y="917604"/>
                      <a:pt x="198993" y="958418"/>
                    </a:cubicBezTo>
                    <a:lnTo>
                      <a:pt x="180000" y="994681"/>
                    </a:lnTo>
                    <a:lnTo>
                      <a:pt x="180000" y="1186657"/>
                    </a:lnTo>
                    <a:lnTo>
                      <a:pt x="180000" y="1207863"/>
                    </a:lnTo>
                    <a:cubicBezTo>
                      <a:pt x="180000" y="1215545"/>
                      <a:pt x="166568" y="1221773"/>
                      <a:pt x="149999" y="1221773"/>
                    </a:cubicBezTo>
                    <a:lnTo>
                      <a:pt x="30001" y="1221773"/>
                    </a:lnTo>
                    <a:cubicBezTo>
                      <a:pt x="13432" y="1221773"/>
                      <a:pt x="0" y="1215545"/>
                      <a:pt x="0" y="1207863"/>
                    </a:cubicBezTo>
                    <a:lnTo>
                      <a:pt x="0" y="13911"/>
                    </a:lnTo>
                    <a:cubicBezTo>
                      <a:pt x="0" y="6228"/>
                      <a:pt x="13432" y="0"/>
                      <a:pt x="30001" y="0"/>
                    </a:cubicBezTo>
                    <a:lnTo>
                      <a:pt x="149999" y="0"/>
                    </a:lnTo>
                    <a:cubicBezTo>
                      <a:pt x="166568" y="0"/>
                      <a:pt x="180000" y="6228"/>
                      <a:pt x="180000" y="13911"/>
                    </a:cubicBezTo>
                    <a:lnTo>
                      <a:pt x="180000" y="33079"/>
                    </a:lnTo>
                    <a:lnTo>
                      <a:pt x="180000" y="649093"/>
                    </a:lnTo>
                    <a:lnTo>
                      <a:pt x="204751" y="682572"/>
                    </a:lnTo>
                    <a:cubicBezTo>
                      <a:pt x="248252" y="719481"/>
                      <a:pt x="317946" y="718145"/>
                      <a:pt x="433719" y="634545"/>
                    </a:cubicBezTo>
                    <a:lnTo>
                      <a:pt x="471816" y="613983"/>
                    </a:lnTo>
                    <a:cubicBezTo>
                      <a:pt x="498721" y="602404"/>
                      <a:pt x="528301" y="596002"/>
                      <a:pt x="559350" y="596002"/>
                    </a:cubicBezTo>
                    <a:cubicBezTo>
                      <a:pt x="683548" y="596002"/>
                      <a:pt x="784231" y="698441"/>
                      <a:pt x="784231" y="82480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9187">
                      <a:lumMod val="75000"/>
                    </a:srgbClr>
                  </a:gs>
                  <a:gs pos="100000">
                    <a:srgbClr val="009187">
                      <a:lumMod val="60000"/>
                      <a:lumOff val="40000"/>
                    </a:srgbClr>
                  </a:gs>
                  <a:gs pos="14000">
                    <a:srgbClr val="009187"/>
                  </a:gs>
                  <a:gs pos="79000">
                    <a:srgbClr val="009187">
                      <a:lumMod val="75000"/>
                    </a:srgbClr>
                  </a:gs>
                </a:gsLst>
                <a:lin ang="0" scaled="1"/>
                <a:tileRect/>
              </a:gradFill>
              <a:ln w="0" cap="flat" cmpd="sng" algn="ctr">
                <a:solidFill>
                  <a:sysClr val="window" lastClr="FFFFFF"/>
                </a:solidFill>
                <a:prstDash val="solid"/>
              </a:ln>
              <a:effectLst/>
              <a:scene3d>
                <a:camera prst="orthographicFront"/>
                <a:lightRig rig="threePt" dir="t">
                  <a:rot lat="0" lon="0" rev="7200000"/>
                </a:lightRig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2818" name="Group 474"/>
            <p:cNvGrpSpPr>
              <a:grpSpLocks/>
            </p:cNvGrpSpPr>
            <p:nvPr/>
          </p:nvGrpSpPr>
          <p:grpSpPr bwMode="auto">
            <a:xfrm>
              <a:off x="5026289" y="2718565"/>
              <a:ext cx="413168" cy="492443"/>
              <a:chOff x="5026289" y="2718565"/>
              <a:chExt cx="413168" cy="492443"/>
            </a:xfrm>
          </p:grpSpPr>
          <p:grpSp>
            <p:nvGrpSpPr>
              <p:cNvPr id="476" name="Group 475"/>
              <p:cNvGrpSpPr/>
              <p:nvPr/>
            </p:nvGrpSpPr>
            <p:grpSpPr>
              <a:xfrm>
                <a:off x="5026289" y="2749449"/>
                <a:ext cx="413168" cy="401064"/>
                <a:chOff x="3297503" y="1960054"/>
                <a:chExt cx="896104" cy="869855"/>
              </a:xfrm>
              <a:effectLst>
                <a:outerShdw blurRad="50800" sx="101000" sy="101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479" name="Oval 478"/>
                <p:cNvSpPr/>
                <p:nvPr/>
              </p:nvSpPr>
              <p:spPr>
                <a:xfrm>
                  <a:off x="3297503" y="1960054"/>
                  <a:ext cx="885022" cy="869855"/>
                </a:xfrm>
                <a:prstGeom prst="ellipse">
                  <a:avLst/>
                </a:prstGeom>
                <a:gradFill flip="none" rotWithShape="1">
                  <a:gsLst>
                    <a:gs pos="77000">
                      <a:srgbClr val="009187"/>
                    </a:gs>
                    <a:gs pos="0">
                      <a:srgbClr val="009187">
                        <a:lumMod val="60000"/>
                        <a:lumOff val="40000"/>
                      </a:srgbClr>
                    </a:gs>
                  </a:gsLst>
                  <a:lin ang="13500000" scaled="1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0" name="Rectangle 6"/>
                <p:cNvSpPr/>
                <p:nvPr/>
              </p:nvSpPr>
              <p:spPr>
                <a:xfrm>
                  <a:off x="3780801" y="1988495"/>
                  <a:ext cx="235623" cy="15291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681" h="328612">
                      <a:moveTo>
                        <a:pt x="0" y="0"/>
                      </a:moveTo>
                      <a:cubicBezTo>
                        <a:pt x="108744" y="9525"/>
                        <a:pt x="369886" y="64294"/>
                        <a:pt x="497681" y="228600"/>
                      </a:cubicBezTo>
                      <a:lnTo>
                        <a:pt x="381001" y="328612"/>
                      </a:lnTo>
                      <a:cubicBezTo>
                        <a:pt x="350838" y="287336"/>
                        <a:pt x="168276" y="172244"/>
                        <a:pt x="35719" y="1381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1" name="Rectangle 6"/>
                <p:cNvSpPr/>
                <p:nvPr/>
              </p:nvSpPr>
              <p:spPr>
                <a:xfrm rot="1800000">
                  <a:off x="3947274" y="2149700"/>
                  <a:ext cx="246333" cy="19595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0302" h="421115">
                      <a:moveTo>
                        <a:pt x="49005" y="0"/>
                      </a:moveTo>
                      <a:cubicBezTo>
                        <a:pt x="162745" y="3891"/>
                        <a:pt x="407262" y="172741"/>
                        <a:pt x="520302" y="340068"/>
                      </a:cubicBezTo>
                      <a:cubicBezTo>
                        <a:pt x="474101" y="346461"/>
                        <a:pt x="438701" y="390612"/>
                        <a:pt x="417419" y="421115"/>
                      </a:cubicBezTo>
                      <a:cubicBezTo>
                        <a:pt x="363125" y="333280"/>
                        <a:pt x="138104" y="168461"/>
                        <a:pt x="0" y="148532"/>
                      </a:cubicBezTo>
                      <a:lnTo>
                        <a:pt x="49005" y="0"/>
                      </a:ln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2" name="Rectangle 6"/>
                <p:cNvSpPr/>
                <p:nvPr/>
              </p:nvSpPr>
              <p:spPr>
                <a:xfrm>
                  <a:off x="3753290" y="2070492"/>
                  <a:ext cx="192782" cy="14404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61962"/>
                    <a:gd name="connsiteY0" fmla="*/ 0 h 328612"/>
                    <a:gd name="connsiteX1" fmla="*/ 461962 w 461962"/>
                    <a:gd name="connsiteY1" fmla="*/ 197644 h 328612"/>
                    <a:gd name="connsiteX2" fmla="*/ 381001 w 461962"/>
                    <a:gd name="connsiteY2" fmla="*/ 328612 h 328612"/>
                    <a:gd name="connsiteX3" fmla="*/ 35719 w 461962"/>
                    <a:gd name="connsiteY3" fmla="*/ 138113 h 328612"/>
                    <a:gd name="connsiteX4" fmla="*/ 0 w 461962"/>
                    <a:gd name="connsiteY4" fmla="*/ 0 h 328612"/>
                    <a:gd name="connsiteX0" fmla="*/ 0 w 461962"/>
                    <a:gd name="connsiteY0" fmla="*/ 0 h 319087"/>
                    <a:gd name="connsiteX1" fmla="*/ 461962 w 461962"/>
                    <a:gd name="connsiteY1" fmla="*/ 197644 h 319087"/>
                    <a:gd name="connsiteX2" fmla="*/ 381001 w 461962"/>
                    <a:gd name="connsiteY2" fmla="*/ 319087 h 319087"/>
                    <a:gd name="connsiteX3" fmla="*/ 35719 w 461962"/>
                    <a:gd name="connsiteY3" fmla="*/ 138113 h 319087"/>
                    <a:gd name="connsiteX4" fmla="*/ 0 w 461962"/>
                    <a:gd name="connsiteY4" fmla="*/ 0 h 319087"/>
                    <a:gd name="connsiteX0" fmla="*/ 100012 w 426243"/>
                    <a:gd name="connsiteY0" fmla="*/ 0 h 295274"/>
                    <a:gd name="connsiteX1" fmla="*/ 426243 w 426243"/>
                    <a:gd name="connsiteY1" fmla="*/ 173831 h 295274"/>
                    <a:gd name="connsiteX2" fmla="*/ 345282 w 426243"/>
                    <a:gd name="connsiteY2" fmla="*/ 295274 h 295274"/>
                    <a:gd name="connsiteX3" fmla="*/ 0 w 426243"/>
                    <a:gd name="connsiteY3" fmla="*/ 114300 h 295274"/>
                    <a:gd name="connsiteX4" fmla="*/ 100012 w 426243"/>
                    <a:gd name="connsiteY4" fmla="*/ 0 h 295274"/>
                    <a:gd name="connsiteX0" fmla="*/ 71437 w 397668"/>
                    <a:gd name="connsiteY0" fmla="*/ 0 h 295274"/>
                    <a:gd name="connsiteX1" fmla="*/ 397668 w 397668"/>
                    <a:gd name="connsiteY1" fmla="*/ 173831 h 295274"/>
                    <a:gd name="connsiteX2" fmla="*/ 316707 w 397668"/>
                    <a:gd name="connsiteY2" fmla="*/ 295274 h 295274"/>
                    <a:gd name="connsiteX3" fmla="*/ 0 w 397668"/>
                    <a:gd name="connsiteY3" fmla="*/ 107156 h 295274"/>
                    <a:gd name="connsiteX4" fmla="*/ 71437 w 397668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7655"/>
                    <a:gd name="connsiteX1" fmla="*/ 407193 w 407193"/>
                    <a:gd name="connsiteY1" fmla="*/ 173831 h 297655"/>
                    <a:gd name="connsiteX2" fmla="*/ 323851 w 407193"/>
                    <a:gd name="connsiteY2" fmla="*/ 297655 h 297655"/>
                    <a:gd name="connsiteX3" fmla="*/ 0 w 407193"/>
                    <a:gd name="connsiteY3" fmla="*/ 119062 h 297655"/>
                    <a:gd name="connsiteX4" fmla="*/ 80962 w 407193"/>
                    <a:gd name="connsiteY4" fmla="*/ 0 h 297655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193" h="309561">
                      <a:moveTo>
                        <a:pt x="83344" y="0"/>
                      </a:moveTo>
                      <a:cubicBezTo>
                        <a:pt x="220663" y="47625"/>
                        <a:pt x="286541" y="76199"/>
                        <a:pt x="407193" y="185737"/>
                      </a:cubicBezTo>
                      <a:lnTo>
                        <a:pt x="323851" y="309561"/>
                      </a:lnTo>
                      <a:cubicBezTo>
                        <a:pt x="288926" y="246854"/>
                        <a:pt x="127795" y="148430"/>
                        <a:pt x="0" y="130968"/>
                      </a:cubicBezTo>
                      <a:cubicBezTo>
                        <a:pt x="50799" y="103187"/>
                        <a:pt x="77789" y="53974"/>
                        <a:pt x="83344" y="0"/>
                      </a:cubicBez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3" name="Rectangle 6"/>
                <p:cNvSpPr/>
                <p:nvPr/>
              </p:nvSpPr>
              <p:spPr>
                <a:xfrm rot="1800000">
                  <a:off x="3887126" y="2212407"/>
                  <a:ext cx="190770" cy="25373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  <a:gd name="connsiteX0" fmla="*/ 49005 w 520302"/>
                    <a:gd name="connsiteY0" fmla="*/ 0 h 548528"/>
                    <a:gd name="connsiteX1" fmla="*/ 520302 w 520302"/>
                    <a:gd name="connsiteY1" fmla="*/ 340068 h 548528"/>
                    <a:gd name="connsiteX2" fmla="*/ 391995 w 520302"/>
                    <a:gd name="connsiteY2" fmla="*/ 548528 h 548528"/>
                    <a:gd name="connsiteX3" fmla="*/ 0 w 520302"/>
                    <a:gd name="connsiteY3" fmla="*/ 148532 h 548528"/>
                    <a:gd name="connsiteX4" fmla="*/ 49005 w 520302"/>
                    <a:gd name="connsiteY4" fmla="*/ 0 h 548528"/>
                    <a:gd name="connsiteX0" fmla="*/ 49005 w 444358"/>
                    <a:gd name="connsiteY0" fmla="*/ 0 h 548528"/>
                    <a:gd name="connsiteX1" fmla="*/ 444358 w 444358"/>
                    <a:gd name="connsiteY1" fmla="*/ 265680 h 548528"/>
                    <a:gd name="connsiteX2" fmla="*/ 391995 w 444358"/>
                    <a:gd name="connsiteY2" fmla="*/ 548528 h 548528"/>
                    <a:gd name="connsiteX3" fmla="*/ 0 w 444358"/>
                    <a:gd name="connsiteY3" fmla="*/ 148532 h 548528"/>
                    <a:gd name="connsiteX4" fmla="*/ 49005 w 444358"/>
                    <a:gd name="connsiteY4" fmla="*/ 0 h 548528"/>
                    <a:gd name="connsiteX0" fmla="*/ 49005 w 448802"/>
                    <a:gd name="connsiteY0" fmla="*/ 0 h 548528"/>
                    <a:gd name="connsiteX1" fmla="*/ 448802 w 448802"/>
                    <a:gd name="connsiteY1" fmla="*/ 268615 h 548528"/>
                    <a:gd name="connsiteX2" fmla="*/ 391995 w 448802"/>
                    <a:gd name="connsiteY2" fmla="*/ 548528 h 548528"/>
                    <a:gd name="connsiteX3" fmla="*/ 0 w 448802"/>
                    <a:gd name="connsiteY3" fmla="*/ 148532 h 548528"/>
                    <a:gd name="connsiteX4" fmla="*/ 49005 w 44880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942" h="545275">
                      <a:moveTo>
                        <a:pt x="2272" y="0"/>
                      </a:moveTo>
                      <a:cubicBezTo>
                        <a:pt x="137358" y="21813"/>
                        <a:pt x="292369" y="121357"/>
                        <a:pt x="402942" y="265362"/>
                      </a:cubicBezTo>
                      <a:cubicBezTo>
                        <a:pt x="366267" y="288253"/>
                        <a:pt x="324638" y="459732"/>
                        <a:pt x="346135" y="545275"/>
                      </a:cubicBezTo>
                      <a:cubicBezTo>
                        <a:pt x="317459" y="439900"/>
                        <a:pt x="136363" y="189232"/>
                        <a:pt x="0" y="162797"/>
                      </a:cubicBezTo>
                      <a:cubicBezTo>
                        <a:pt x="1048" y="107447"/>
                        <a:pt x="1224" y="55350"/>
                        <a:pt x="2272" y="0"/>
                      </a:cubicBez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4" name="Rectangle 7"/>
                <p:cNvSpPr/>
                <p:nvPr/>
              </p:nvSpPr>
              <p:spPr>
                <a:xfrm>
                  <a:off x="3327366" y="2502665"/>
                  <a:ext cx="426376" cy="304302"/>
                </a:xfrm>
                <a:custGeom>
                  <a:avLst/>
                  <a:gdLst>
                    <a:gd name="connsiteX0" fmla="*/ 0 w 45719"/>
                    <a:gd name="connsiteY0" fmla="*/ 0 h 296052"/>
                    <a:gd name="connsiteX1" fmla="*/ 45719 w 45719"/>
                    <a:gd name="connsiteY1" fmla="*/ 0 h 296052"/>
                    <a:gd name="connsiteX2" fmla="*/ 45719 w 45719"/>
                    <a:gd name="connsiteY2" fmla="*/ 296052 h 296052"/>
                    <a:gd name="connsiteX3" fmla="*/ 0 w 45719"/>
                    <a:gd name="connsiteY3" fmla="*/ 296052 h 296052"/>
                    <a:gd name="connsiteX4" fmla="*/ 0 w 45719"/>
                    <a:gd name="connsiteY4" fmla="*/ 0 h 296052"/>
                    <a:gd name="connsiteX0" fmla="*/ 0 w 355282"/>
                    <a:gd name="connsiteY0" fmla="*/ 0 h 343677"/>
                    <a:gd name="connsiteX1" fmla="*/ 355282 w 355282"/>
                    <a:gd name="connsiteY1" fmla="*/ 47625 h 343677"/>
                    <a:gd name="connsiteX2" fmla="*/ 355282 w 355282"/>
                    <a:gd name="connsiteY2" fmla="*/ 343677 h 343677"/>
                    <a:gd name="connsiteX3" fmla="*/ 309563 w 355282"/>
                    <a:gd name="connsiteY3" fmla="*/ 343677 h 343677"/>
                    <a:gd name="connsiteX4" fmla="*/ 0 w 355282"/>
                    <a:gd name="connsiteY4" fmla="*/ 0 h 343677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309563 w 905350"/>
                    <a:gd name="connsiteY3" fmla="*/ 343677 h 665146"/>
                    <a:gd name="connsiteX4" fmla="*/ 0 w 905350"/>
                    <a:gd name="connsiteY4" fmla="*/ 0 h 665146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0 w 905350"/>
                    <a:gd name="connsiteY3" fmla="*/ 0 h 665146"/>
                    <a:gd name="connsiteX0" fmla="*/ 0 w 905350"/>
                    <a:gd name="connsiteY0" fmla="*/ 0 h 665286"/>
                    <a:gd name="connsiteX1" fmla="*/ 355282 w 905350"/>
                    <a:gd name="connsiteY1" fmla="*/ 47625 h 665286"/>
                    <a:gd name="connsiteX2" fmla="*/ 905350 w 905350"/>
                    <a:gd name="connsiteY2" fmla="*/ 665146 h 665286"/>
                    <a:gd name="connsiteX3" fmla="*/ 0 w 905350"/>
                    <a:gd name="connsiteY3" fmla="*/ 0 h 665286"/>
                    <a:gd name="connsiteX0" fmla="*/ 0 w 902969"/>
                    <a:gd name="connsiteY0" fmla="*/ 0 h 658144"/>
                    <a:gd name="connsiteX1" fmla="*/ 355282 w 902969"/>
                    <a:gd name="connsiteY1" fmla="*/ 47625 h 658144"/>
                    <a:gd name="connsiteX2" fmla="*/ 902969 w 902969"/>
                    <a:gd name="connsiteY2" fmla="*/ 658002 h 658144"/>
                    <a:gd name="connsiteX3" fmla="*/ 0 w 902969"/>
                    <a:gd name="connsiteY3" fmla="*/ 0 h 658144"/>
                    <a:gd name="connsiteX0" fmla="*/ 0 w 895825"/>
                    <a:gd name="connsiteY0" fmla="*/ 0 h 660525"/>
                    <a:gd name="connsiteX1" fmla="*/ 348138 w 895825"/>
                    <a:gd name="connsiteY1" fmla="*/ 50007 h 660525"/>
                    <a:gd name="connsiteX2" fmla="*/ 895825 w 895825"/>
                    <a:gd name="connsiteY2" fmla="*/ 660384 h 660525"/>
                    <a:gd name="connsiteX3" fmla="*/ 0 w 895825"/>
                    <a:gd name="connsiteY3" fmla="*/ 0 h 660525"/>
                    <a:gd name="connsiteX0" fmla="*/ 0 w 895825"/>
                    <a:gd name="connsiteY0" fmla="*/ 0 h 660561"/>
                    <a:gd name="connsiteX1" fmla="*/ 348138 w 895825"/>
                    <a:gd name="connsiteY1" fmla="*/ 50007 h 660561"/>
                    <a:gd name="connsiteX2" fmla="*/ 895825 w 895825"/>
                    <a:gd name="connsiteY2" fmla="*/ 660384 h 660561"/>
                    <a:gd name="connsiteX3" fmla="*/ 0 w 895825"/>
                    <a:gd name="connsiteY3" fmla="*/ 0 h 660561"/>
                    <a:gd name="connsiteX0" fmla="*/ 0 w 895825"/>
                    <a:gd name="connsiteY0" fmla="*/ 0 h 660426"/>
                    <a:gd name="connsiteX1" fmla="*/ 348138 w 895825"/>
                    <a:gd name="connsiteY1" fmla="*/ 50007 h 660426"/>
                    <a:gd name="connsiteX2" fmla="*/ 895825 w 895825"/>
                    <a:gd name="connsiteY2" fmla="*/ 660384 h 660426"/>
                    <a:gd name="connsiteX3" fmla="*/ 0 w 895825"/>
                    <a:gd name="connsiteY3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900587"/>
                    <a:gd name="connsiteY0" fmla="*/ 0 h 653284"/>
                    <a:gd name="connsiteX1" fmla="*/ 900587 w 900587"/>
                    <a:gd name="connsiteY1" fmla="*/ 653241 h 653284"/>
                    <a:gd name="connsiteX2" fmla="*/ 0 w 900587"/>
                    <a:gd name="connsiteY2" fmla="*/ 0 h 653284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0587" h="653951">
                      <a:moveTo>
                        <a:pt x="0" y="0"/>
                      </a:moveTo>
                      <a:cubicBezTo>
                        <a:pt x="115251" y="279659"/>
                        <a:pt x="432910" y="642663"/>
                        <a:pt x="900587" y="653241"/>
                      </a:cubicBezTo>
                      <a:cubicBezTo>
                        <a:pt x="420210" y="672031"/>
                        <a:pt x="80327" y="314584"/>
                        <a:pt x="0" y="0"/>
                      </a:cubicBezTo>
                      <a:close/>
                    </a:path>
                  </a:pathLst>
                </a:custGeom>
                <a:solidFill>
                  <a:srgbClr val="009187">
                    <a:lumMod val="40000"/>
                    <a:lumOff val="60000"/>
                    <a:alpha val="5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477" name="Rectangle 163"/>
              <p:cNvSpPr>
                <a:spLocks noChangeArrowheads="1"/>
              </p:cNvSpPr>
              <p:nvPr/>
            </p:nvSpPr>
            <p:spPr bwMode="auto">
              <a:xfrm>
                <a:off x="5037207" y="2718565"/>
                <a:ext cx="390444" cy="492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US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itchFamily="34" charset="0"/>
                    <a:ea typeface="ＭＳ Ｐゴシック" pitchFamily="1" charset="-128"/>
                    <a:cs typeface="Arial" pitchFamily="34" charset="0"/>
                  </a:rPr>
                  <a:t>Q</a:t>
                </a:r>
              </a:p>
            </p:txBody>
          </p:sp>
          <p:sp>
            <p:nvSpPr>
              <p:cNvPr id="478" name="Oval 477"/>
              <p:cNvSpPr/>
              <p:nvPr/>
            </p:nvSpPr>
            <p:spPr>
              <a:xfrm>
                <a:off x="5082786" y="2761541"/>
                <a:ext cx="295249" cy="198738"/>
              </a:xfrm>
              <a:prstGeom prst="ellipse">
                <a:avLst/>
              </a:prstGeom>
              <a:gradFill>
                <a:gsLst>
                  <a:gs pos="100000">
                    <a:sysClr val="window" lastClr="FFFFFF">
                      <a:alpha val="0"/>
                    </a:sysClr>
                  </a:gs>
                  <a:gs pos="0">
                    <a:srgbClr val="009187">
                      <a:lumMod val="20000"/>
                      <a:lumOff val="80000"/>
                    </a:srgbClr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522" name="16-Point Star 521"/>
          <p:cNvSpPr/>
          <p:nvPr/>
        </p:nvSpPr>
        <p:spPr>
          <a:xfrm>
            <a:off x="5924550" y="838200"/>
            <a:ext cx="565150" cy="417513"/>
          </a:xfrm>
          <a:prstGeom prst="star16">
            <a:avLst>
              <a:gd name="adj" fmla="val 32636"/>
            </a:avLst>
          </a:prstGeom>
          <a:solidFill>
            <a:srgbClr val="FFFF00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b="1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23" name="Group 522"/>
          <p:cNvGrpSpPr>
            <a:grpSpLocks/>
          </p:cNvGrpSpPr>
          <p:nvPr/>
        </p:nvGrpSpPr>
        <p:grpSpPr bwMode="auto">
          <a:xfrm>
            <a:off x="5811838" y="863600"/>
            <a:ext cx="1217612" cy="622300"/>
            <a:chOff x="5812534" y="1150887"/>
            <a:chExt cx="1216152" cy="830219"/>
          </a:xfrm>
        </p:grpSpPr>
        <p:grpSp>
          <p:nvGrpSpPr>
            <p:cNvPr id="32804" name="Group 523"/>
            <p:cNvGrpSpPr>
              <a:grpSpLocks/>
            </p:cNvGrpSpPr>
            <p:nvPr/>
          </p:nvGrpSpPr>
          <p:grpSpPr bwMode="auto">
            <a:xfrm>
              <a:off x="5812534" y="1157422"/>
              <a:ext cx="1216152" cy="823684"/>
              <a:chOff x="5817729" y="1157422"/>
              <a:chExt cx="1216152" cy="823684"/>
            </a:xfrm>
          </p:grpSpPr>
          <p:sp>
            <p:nvSpPr>
              <p:cNvPr id="535" name="Rectangle 257"/>
              <p:cNvSpPr>
                <a:spLocks noChangeArrowheads="1"/>
              </p:cNvSpPr>
              <p:nvPr/>
            </p:nvSpPr>
            <p:spPr bwMode="auto">
              <a:xfrm>
                <a:off x="5817729" y="1761650"/>
                <a:ext cx="1216152" cy="219456"/>
              </a:xfrm>
              <a:prstGeom prst="roundRect">
                <a:avLst/>
              </a:prstGeom>
              <a:solidFill>
                <a:srgbClr val="009187">
                  <a:lumMod val="50000"/>
                </a:srgbClr>
              </a:solidFill>
              <a:ln w="127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6" name="Freeform 535"/>
              <p:cNvSpPr>
                <a:spLocks noChangeArrowheads="1"/>
              </p:cNvSpPr>
              <p:nvPr/>
            </p:nvSpPr>
            <p:spPr bwMode="auto">
              <a:xfrm rot="16200000">
                <a:off x="6031942" y="943210"/>
                <a:ext cx="784231" cy="1212656"/>
              </a:xfrm>
              <a:custGeom>
                <a:avLst/>
                <a:gdLst>
                  <a:gd name="connsiteX0" fmla="*/ 784231 w 784231"/>
                  <a:gd name="connsiteY0" fmla="*/ 404616 h 1212656"/>
                  <a:gd name="connsiteX1" fmla="*/ 559350 w 784231"/>
                  <a:gd name="connsiteY1" fmla="*/ 633419 h 1212656"/>
                  <a:gd name="connsiteX2" fmla="*/ 471816 w 784231"/>
                  <a:gd name="connsiteY2" fmla="*/ 615439 h 1212656"/>
                  <a:gd name="connsiteX3" fmla="*/ 433719 w 784231"/>
                  <a:gd name="connsiteY3" fmla="*/ 594399 h 1212656"/>
                  <a:gd name="connsiteX4" fmla="*/ 433719 w 784231"/>
                  <a:gd name="connsiteY4" fmla="*/ 595028 h 1212656"/>
                  <a:gd name="connsiteX5" fmla="*/ 198993 w 784231"/>
                  <a:gd name="connsiteY5" fmla="*/ 538229 h 1212656"/>
                  <a:gd name="connsiteX6" fmla="*/ 180000 w 784231"/>
                  <a:gd name="connsiteY6" fmla="*/ 574493 h 1212656"/>
                  <a:gd name="connsiteX7" fmla="*/ 180000 w 784231"/>
                  <a:gd name="connsiteY7" fmla="*/ 1177802 h 1212656"/>
                  <a:gd name="connsiteX8" fmla="*/ 180000 w 784231"/>
                  <a:gd name="connsiteY8" fmla="*/ 1198849 h 1212656"/>
                  <a:gd name="connsiteX9" fmla="*/ 149999 w 784231"/>
                  <a:gd name="connsiteY9" fmla="*/ 1212656 h 1212656"/>
                  <a:gd name="connsiteX10" fmla="*/ 30001 w 784231"/>
                  <a:gd name="connsiteY10" fmla="*/ 1212656 h 1212656"/>
                  <a:gd name="connsiteX11" fmla="*/ 0 w 784231"/>
                  <a:gd name="connsiteY11" fmla="*/ 1198849 h 1212656"/>
                  <a:gd name="connsiteX12" fmla="*/ 0 w 784231"/>
                  <a:gd name="connsiteY12" fmla="*/ 13807 h 1212656"/>
                  <a:gd name="connsiteX13" fmla="*/ 30001 w 784231"/>
                  <a:gd name="connsiteY13" fmla="*/ 0 h 1212656"/>
                  <a:gd name="connsiteX14" fmla="*/ 149999 w 784231"/>
                  <a:gd name="connsiteY14" fmla="*/ 0 h 1212656"/>
                  <a:gd name="connsiteX15" fmla="*/ 180000 w 784231"/>
                  <a:gd name="connsiteY15" fmla="*/ 13807 h 1212656"/>
                  <a:gd name="connsiteX16" fmla="*/ 180000 w 784231"/>
                  <a:gd name="connsiteY16" fmla="*/ 32832 h 1212656"/>
                  <a:gd name="connsiteX17" fmla="*/ 180000 w 784231"/>
                  <a:gd name="connsiteY17" fmla="*/ 228904 h 1212656"/>
                  <a:gd name="connsiteX18" fmla="*/ 204752 w 784231"/>
                  <a:gd name="connsiteY18" fmla="*/ 262384 h 1212656"/>
                  <a:gd name="connsiteX19" fmla="*/ 433719 w 784231"/>
                  <a:gd name="connsiteY19" fmla="*/ 214356 h 1212656"/>
                  <a:gd name="connsiteX20" fmla="*/ 471816 w 784231"/>
                  <a:gd name="connsiteY20" fmla="*/ 193794 h 1212656"/>
                  <a:gd name="connsiteX21" fmla="*/ 559350 w 784231"/>
                  <a:gd name="connsiteY21" fmla="*/ 175813 h 1212656"/>
                  <a:gd name="connsiteX22" fmla="*/ 784231 w 784231"/>
                  <a:gd name="connsiteY22" fmla="*/ 404616 h 1212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84231" h="1212656">
                    <a:moveTo>
                      <a:pt x="784231" y="404616"/>
                    </a:moveTo>
                    <a:cubicBezTo>
                      <a:pt x="784231" y="530980"/>
                      <a:pt x="683548" y="633419"/>
                      <a:pt x="559350" y="633419"/>
                    </a:cubicBezTo>
                    <a:cubicBezTo>
                      <a:pt x="528301" y="633419"/>
                      <a:pt x="498721" y="627017"/>
                      <a:pt x="471816" y="615439"/>
                    </a:cubicBezTo>
                    <a:lnTo>
                      <a:pt x="433719" y="594399"/>
                    </a:lnTo>
                    <a:lnTo>
                      <a:pt x="433719" y="595028"/>
                    </a:lnTo>
                    <a:cubicBezTo>
                      <a:pt x="315079" y="507504"/>
                      <a:pt x="239858" y="497415"/>
                      <a:pt x="198993" y="538229"/>
                    </a:cubicBezTo>
                    <a:lnTo>
                      <a:pt x="180000" y="574493"/>
                    </a:lnTo>
                    <a:lnTo>
                      <a:pt x="180000" y="1177802"/>
                    </a:lnTo>
                    <a:lnTo>
                      <a:pt x="180000" y="1198849"/>
                    </a:lnTo>
                    <a:cubicBezTo>
                      <a:pt x="180000" y="1206475"/>
                      <a:pt x="166568" y="1212656"/>
                      <a:pt x="149999" y="1212656"/>
                    </a:cubicBezTo>
                    <a:lnTo>
                      <a:pt x="30001" y="1212656"/>
                    </a:lnTo>
                    <a:cubicBezTo>
                      <a:pt x="13432" y="1212656"/>
                      <a:pt x="0" y="1206475"/>
                      <a:pt x="0" y="1198849"/>
                    </a:cubicBezTo>
                    <a:lnTo>
                      <a:pt x="0" y="13807"/>
                    </a:lnTo>
                    <a:cubicBezTo>
                      <a:pt x="0" y="6182"/>
                      <a:pt x="13432" y="0"/>
                      <a:pt x="30001" y="0"/>
                    </a:cubicBezTo>
                    <a:lnTo>
                      <a:pt x="149999" y="0"/>
                    </a:lnTo>
                    <a:cubicBezTo>
                      <a:pt x="166568" y="0"/>
                      <a:pt x="180000" y="6182"/>
                      <a:pt x="180000" y="13807"/>
                    </a:cubicBezTo>
                    <a:lnTo>
                      <a:pt x="180000" y="32832"/>
                    </a:lnTo>
                    <a:lnTo>
                      <a:pt x="180000" y="228904"/>
                    </a:lnTo>
                    <a:lnTo>
                      <a:pt x="204752" y="262384"/>
                    </a:lnTo>
                    <a:cubicBezTo>
                      <a:pt x="248253" y="299293"/>
                      <a:pt x="317947" y="297957"/>
                      <a:pt x="433719" y="214356"/>
                    </a:cubicBezTo>
                    <a:lnTo>
                      <a:pt x="471816" y="193794"/>
                    </a:lnTo>
                    <a:cubicBezTo>
                      <a:pt x="498721" y="182215"/>
                      <a:pt x="528301" y="175813"/>
                      <a:pt x="559350" y="175813"/>
                    </a:cubicBezTo>
                    <a:cubicBezTo>
                      <a:pt x="683548" y="175813"/>
                      <a:pt x="784231" y="278252"/>
                      <a:pt x="784231" y="404616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9187">
                      <a:lumMod val="75000"/>
                    </a:srgbClr>
                  </a:gs>
                  <a:gs pos="100000">
                    <a:srgbClr val="009187">
                      <a:lumMod val="60000"/>
                      <a:lumOff val="40000"/>
                    </a:srgbClr>
                  </a:gs>
                  <a:gs pos="14000">
                    <a:srgbClr val="009187"/>
                  </a:gs>
                  <a:gs pos="79000">
                    <a:srgbClr val="009187">
                      <a:lumMod val="75000"/>
                    </a:srgbClr>
                  </a:gs>
                </a:gsLst>
                <a:lin ang="0" scaled="1"/>
              </a:gradFill>
              <a:ln w="0" cap="flat" cmpd="sng" algn="ctr">
                <a:solidFill>
                  <a:sysClr val="window" lastClr="FFFFFF"/>
                </a:solidFill>
                <a:prstDash val="solid"/>
              </a:ln>
              <a:effectLst/>
              <a:scene3d>
                <a:camera prst="orthographicFront"/>
                <a:lightRig rig="threePt" dir="t">
                  <a:rot lat="0" lon="0" rev="7200000"/>
                </a:lightRig>
              </a:scene3d>
              <a:sp3d prstMaterial="plastic"/>
            </p:spPr>
            <p:txBody>
              <a:bodyPr anchor="ctr"/>
              <a:lstStyle/>
              <a:p>
                <a:pPr algn="ctr">
                  <a:defRPr/>
                </a:pPr>
                <a:endParaRPr lang="en-AU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2805" name="Group 524"/>
            <p:cNvGrpSpPr>
              <a:grpSpLocks/>
            </p:cNvGrpSpPr>
            <p:nvPr/>
          </p:nvGrpSpPr>
          <p:grpSpPr bwMode="auto">
            <a:xfrm>
              <a:off x="6013121" y="1150887"/>
              <a:ext cx="413168" cy="492443"/>
              <a:chOff x="6013121" y="1150887"/>
              <a:chExt cx="413168" cy="492443"/>
            </a:xfrm>
          </p:grpSpPr>
          <p:grpSp>
            <p:nvGrpSpPr>
              <p:cNvPr id="526" name="Group 525"/>
              <p:cNvGrpSpPr/>
              <p:nvPr/>
            </p:nvGrpSpPr>
            <p:grpSpPr>
              <a:xfrm>
                <a:off x="6013121" y="1181771"/>
                <a:ext cx="413168" cy="401064"/>
                <a:chOff x="3297503" y="1960054"/>
                <a:chExt cx="896104" cy="869855"/>
              </a:xfrm>
              <a:effectLst>
                <a:outerShdw blurRad="50800" sx="101000" sy="101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529" name="Oval 528"/>
                <p:cNvSpPr/>
                <p:nvPr/>
              </p:nvSpPr>
              <p:spPr>
                <a:xfrm>
                  <a:off x="3297503" y="1960054"/>
                  <a:ext cx="885022" cy="869855"/>
                </a:xfrm>
                <a:prstGeom prst="ellipse">
                  <a:avLst/>
                </a:prstGeom>
                <a:gradFill>
                  <a:gsLst>
                    <a:gs pos="77000">
                      <a:srgbClr val="FFFF00"/>
                    </a:gs>
                    <a:gs pos="0">
                      <a:srgbClr val="FFFF66"/>
                    </a:gs>
                  </a:gsLst>
                  <a:lin ang="13500000" scaled="1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0" name="Rectangle 6"/>
                <p:cNvSpPr/>
                <p:nvPr/>
              </p:nvSpPr>
              <p:spPr>
                <a:xfrm>
                  <a:off x="3780801" y="1988495"/>
                  <a:ext cx="235623" cy="15291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681" h="328612">
                      <a:moveTo>
                        <a:pt x="0" y="0"/>
                      </a:moveTo>
                      <a:cubicBezTo>
                        <a:pt x="108744" y="9525"/>
                        <a:pt x="369886" y="64294"/>
                        <a:pt x="497681" y="228600"/>
                      </a:cubicBezTo>
                      <a:lnTo>
                        <a:pt x="381001" y="328612"/>
                      </a:lnTo>
                      <a:cubicBezTo>
                        <a:pt x="350838" y="287336"/>
                        <a:pt x="168276" y="172244"/>
                        <a:pt x="35719" y="1381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1" name="Rectangle 6"/>
                <p:cNvSpPr/>
                <p:nvPr/>
              </p:nvSpPr>
              <p:spPr>
                <a:xfrm rot="1800000">
                  <a:off x="3947274" y="2149700"/>
                  <a:ext cx="246333" cy="19595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0302" h="421115">
                      <a:moveTo>
                        <a:pt x="49005" y="0"/>
                      </a:moveTo>
                      <a:cubicBezTo>
                        <a:pt x="162745" y="3891"/>
                        <a:pt x="407262" y="172741"/>
                        <a:pt x="520302" y="340068"/>
                      </a:cubicBezTo>
                      <a:cubicBezTo>
                        <a:pt x="474101" y="346461"/>
                        <a:pt x="438701" y="390612"/>
                        <a:pt x="417419" y="421115"/>
                      </a:cubicBezTo>
                      <a:cubicBezTo>
                        <a:pt x="363125" y="333280"/>
                        <a:pt x="138104" y="168461"/>
                        <a:pt x="0" y="148532"/>
                      </a:cubicBezTo>
                      <a:lnTo>
                        <a:pt x="49005" y="0"/>
                      </a:ln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2" name="Rectangle 6"/>
                <p:cNvSpPr/>
                <p:nvPr/>
              </p:nvSpPr>
              <p:spPr>
                <a:xfrm>
                  <a:off x="3753290" y="2070492"/>
                  <a:ext cx="192782" cy="14404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61962"/>
                    <a:gd name="connsiteY0" fmla="*/ 0 h 328612"/>
                    <a:gd name="connsiteX1" fmla="*/ 461962 w 461962"/>
                    <a:gd name="connsiteY1" fmla="*/ 197644 h 328612"/>
                    <a:gd name="connsiteX2" fmla="*/ 381001 w 461962"/>
                    <a:gd name="connsiteY2" fmla="*/ 328612 h 328612"/>
                    <a:gd name="connsiteX3" fmla="*/ 35719 w 461962"/>
                    <a:gd name="connsiteY3" fmla="*/ 138113 h 328612"/>
                    <a:gd name="connsiteX4" fmla="*/ 0 w 461962"/>
                    <a:gd name="connsiteY4" fmla="*/ 0 h 328612"/>
                    <a:gd name="connsiteX0" fmla="*/ 0 w 461962"/>
                    <a:gd name="connsiteY0" fmla="*/ 0 h 319087"/>
                    <a:gd name="connsiteX1" fmla="*/ 461962 w 461962"/>
                    <a:gd name="connsiteY1" fmla="*/ 197644 h 319087"/>
                    <a:gd name="connsiteX2" fmla="*/ 381001 w 461962"/>
                    <a:gd name="connsiteY2" fmla="*/ 319087 h 319087"/>
                    <a:gd name="connsiteX3" fmla="*/ 35719 w 461962"/>
                    <a:gd name="connsiteY3" fmla="*/ 138113 h 319087"/>
                    <a:gd name="connsiteX4" fmla="*/ 0 w 461962"/>
                    <a:gd name="connsiteY4" fmla="*/ 0 h 319087"/>
                    <a:gd name="connsiteX0" fmla="*/ 100012 w 426243"/>
                    <a:gd name="connsiteY0" fmla="*/ 0 h 295274"/>
                    <a:gd name="connsiteX1" fmla="*/ 426243 w 426243"/>
                    <a:gd name="connsiteY1" fmla="*/ 173831 h 295274"/>
                    <a:gd name="connsiteX2" fmla="*/ 345282 w 426243"/>
                    <a:gd name="connsiteY2" fmla="*/ 295274 h 295274"/>
                    <a:gd name="connsiteX3" fmla="*/ 0 w 426243"/>
                    <a:gd name="connsiteY3" fmla="*/ 114300 h 295274"/>
                    <a:gd name="connsiteX4" fmla="*/ 100012 w 426243"/>
                    <a:gd name="connsiteY4" fmla="*/ 0 h 295274"/>
                    <a:gd name="connsiteX0" fmla="*/ 71437 w 397668"/>
                    <a:gd name="connsiteY0" fmla="*/ 0 h 295274"/>
                    <a:gd name="connsiteX1" fmla="*/ 397668 w 397668"/>
                    <a:gd name="connsiteY1" fmla="*/ 173831 h 295274"/>
                    <a:gd name="connsiteX2" fmla="*/ 316707 w 397668"/>
                    <a:gd name="connsiteY2" fmla="*/ 295274 h 295274"/>
                    <a:gd name="connsiteX3" fmla="*/ 0 w 397668"/>
                    <a:gd name="connsiteY3" fmla="*/ 107156 h 295274"/>
                    <a:gd name="connsiteX4" fmla="*/ 71437 w 397668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7655"/>
                    <a:gd name="connsiteX1" fmla="*/ 407193 w 407193"/>
                    <a:gd name="connsiteY1" fmla="*/ 173831 h 297655"/>
                    <a:gd name="connsiteX2" fmla="*/ 323851 w 407193"/>
                    <a:gd name="connsiteY2" fmla="*/ 297655 h 297655"/>
                    <a:gd name="connsiteX3" fmla="*/ 0 w 407193"/>
                    <a:gd name="connsiteY3" fmla="*/ 119062 h 297655"/>
                    <a:gd name="connsiteX4" fmla="*/ 80962 w 407193"/>
                    <a:gd name="connsiteY4" fmla="*/ 0 h 297655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193" h="309561">
                      <a:moveTo>
                        <a:pt x="83344" y="0"/>
                      </a:moveTo>
                      <a:cubicBezTo>
                        <a:pt x="220663" y="47625"/>
                        <a:pt x="286541" y="76199"/>
                        <a:pt x="407193" y="185737"/>
                      </a:cubicBezTo>
                      <a:lnTo>
                        <a:pt x="323851" y="309561"/>
                      </a:lnTo>
                      <a:cubicBezTo>
                        <a:pt x="288926" y="246854"/>
                        <a:pt x="127795" y="148430"/>
                        <a:pt x="0" y="130968"/>
                      </a:cubicBezTo>
                      <a:cubicBezTo>
                        <a:pt x="50799" y="103187"/>
                        <a:pt x="77789" y="53974"/>
                        <a:pt x="83344" y="0"/>
                      </a:cubicBez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3" name="Rectangle 6"/>
                <p:cNvSpPr/>
                <p:nvPr/>
              </p:nvSpPr>
              <p:spPr>
                <a:xfrm rot="1800000">
                  <a:off x="3887126" y="2212407"/>
                  <a:ext cx="190770" cy="25373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  <a:gd name="connsiteX0" fmla="*/ 49005 w 520302"/>
                    <a:gd name="connsiteY0" fmla="*/ 0 h 548528"/>
                    <a:gd name="connsiteX1" fmla="*/ 520302 w 520302"/>
                    <a:gd name="connsiteY1" fmla="*/ 340068 h 548528"/>
                    <a:gd name="connsiteX2" fmla="*/ 391995 w 520302"/>
                    <a:gd name="connsiteY2" fmla="*/ 548528 h 548528"/>
                    <a:gd name="connsiteX3" fmla="*/ 0 w 520302"/>
                    <a:gd name="connsiteY3" fmla="*/ 148532 h 548528"/>
                    <a:gd name="connsiteX4" fmla="*/ 49005 w 520302"/>
                    <a:gd name="connsiteY4" fmla="*/ 0 h 548528"/>
                    <a:gd name="connsiteX0" fmla="*/ 49005 w 444358"/>
                    <a:gd name="connsiteY0" fmla="*/ 0 h 548528"/>
                    <a:gd name="connsiteX1" fmla="*/ 444358 w 444358"/>
                    <a:gd name="connsiteY1" fmla="*/ 265680 h 548528"/>
                    <a:gd name="connsiteX2" fmla="*/ 391995 w 444358"/>
                    <a:gd name="connsiteY2" fmla="*/ 548528 h 548528"/>
                    <a:gd name="connsiteX3" fmla="*/ 0 w 444358"/>
                    <a:gd name="connsiteY3" fmla="*/ 148532 h 548528"/>
                    <a:gd name="connsiteX4" fmla="*/ 49005 w 444358"/>
                    <a:gd name="connsiteY4" fmla="*/ 0 h 548528"/>
                    <a:gd name="connsiteX0" fmla="*/ 49005 w 448802"/>
                    <a:gd name="connsiteY0" fmla="*/ 0 h 548528"/>
                    <a:gd name="connsiteX1" fmla="*/ 448802 w 448802"/>
                    <a:gd name="connsiteY1" fmla="*/ 268615 h 548528"/>
                    <a:gd name="connsiteX2" fmla="*/ 391995 w 448802"/>
                    <a:gd name="connsiteY2" fmla="*/ 548528 h 548528"/>
                    <a:gd name="connsiteX3" fmla="*/ 0 w 448802"/>
                    <a:gd name="connsiteY3" fmla="*/ 148532 h 548528"/>
                    <a:gd name="connsiteX4" fmla="*/ 49005 w 44880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942" h="545275">
                      <a:moveTo>
                        <a:pt x="2272" y="0"/>
                      </a:moveTo>
                      <a:cubicBezTo>
                        <a:pt x="137358" y="21813"/>
                        <a:pt x="292369" y="121357"/>
                        <a:pt x="402942" y="265362"/>
                      </a:cubicBezTo>
                      <a:cubicBezTo>
                        <a:pt x="366267" y="288253"/>
                        <a:pt x="324638" y="459732"/>
                        <a:pt x="346135" y="545275"/>
                      </a:cubicBezTo>
                      <a:cubicBezTo>
                        <a:pt x="317459" y="439900"/>
                        <a:pt x="136363" y="189232"/>
                        <a:pt x="0" y="162797"/>
                      </a:cubicBezTo>
                      <a:cubicBezTo>
                        <a:pt x="1048" y="107447"/>
                        <a:pt x="1224" y="55350"/>
                        <a:pt x="2272" y="0"/>
                      </a:cubicBezTo>
                      <a:close/>
                    </a:path>
                  </a:pathLst>
                </a:custGeom>
                <a:solidFill>
                  <a:srgbClr val="FFC000">
                    <a:alpha val="55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4" name="Rectangle 7"/>
                <p:cNvSpPr/>
                <p:nvPr/>
              </p:nvSpPr>
              <p:spPr>
                <a:xfrm>
                  <a:off x="3327366" y="2502665"/>
                  <a:ext cx="426376" cy="304302"/>
                </a:xfrm>
                <a:custGeom>
                  <a:avLst/>
                  <a:gdLst>
                    <a:gd name="connsiteX0" fmla="*/ 0 w 45719"/>
                    <a:gd name="connsiteY0" fmla="*/ 0 h 296052"/>
                    <a:gd name="connsiteX1" fmla="*/ 45719 w 45719"/>
                    <a:gd name="connsiteY1" fmla="*/ 0 h 296052"/>
                    <a:gd name="connsiteX2" fmla="*/ 45719 w 45719"/>
                    <a:gd name="connsiteY2" fmla="*/ 296052 h 296052"/>
                    <a:gd name="connsiteX3" fmla="*/ 0 w 45719"/>
                    <a:gd name="connsiteY3" fmla="*/ 296052 h 296052"/>
                    <a:gd name="connsiteX4" fmla="*/ 0 w 45719"/>
                    <a:gd name="connsiteY4" fmla="*/ 0 h 296052"/>
                    <a:gd name="connsiteX0" fmla="*/ 0 w 355282"/>
                    <a:gd name="connsiteY0" fmla="*/ 0 h 343677"/>
                    <a:gd name="connsiteX1" fmla="*/ 355282 w 355282"/>
                    <a:gd name="connsiteY1" fmla="*/ 47625 h 343677"/>
                    <a:gd name="connsiteX2" fmla="*/ 355282 w 355282"/>
                    <a:gd name="connsiteY2" fmla="*/ 343677 h 343677"/>
                    <a:gd name="connsiteX3" fmla="*/ 309563 w 355282"/>
                    <a:gd name="connsiteY3" fmla="*/ 343677 h 343677"/>
                    <a:gd name="connsiteX4" fmla="*/ 0 w 355282"/>
                    <a:gd name="connsiteY4" fmla="*/ 0 h 343677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309563 w 905350"/>
                    <a:gd name="connsiteY3" fmla="*/ 343677 h 665146"/>
                    <a:gd name="connsiteX4" fmla="*/ 0 w 905350"/>
                    <a:gd name="connsiteY4" fmla="*/ 0 h 665146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0 w 905350"/>
                    <a:gd name="connsiteY3" fmla="*/ 0 h 665146"/>
                    <a:gd name="connsiteX0" fmla="*/ 0 w 905350"/>
                    <a:gd name="connsiteY0" fmla="*/ 0 h 665286"/>
                    <a:gd name="connsiteX1" fmla="*/ 355282 w 905350"/>
                    <a:gd name="connsiteY1" fmla="*/ 47625 h 665286"/>
                    <a:gd name="connsiteX2" fmla="*/ 905350 w 905350"/>
                    <a:gd name="connsiteY2" fmla="*/ 665146 h 665286"/>
                    <a:gd name="connsiteX3" fmla="*/ 0 w 905350"/>
                    <a:gd name="connsiteY3" fmla="*/ 0 h 665286"/>
                    <a:gd name="connsiteX0" fmla="*/ 0 w 902969"/>
                    <a:gd name="connsiteY0" fmla="*/ 0 h 658144"/>
                    <a:gd name="connsiteX1" fmla="*/ 355282 w 902969"/>
                    <a:gd name="connsiteY1" fmla="*/ 47625 h 658144"/>
                    <a:gd name="connsiteX2" fmla="*/ 902969 w 902969"/>
                    <a:gd name="connsiteY2" fmla="*/ 658002 h 658144"/>
                    <a:gd name="connsiteX3" fmla="*/ 0 w 902969"/>
                    <a:gd name="connsiteY3" fmla="*/ 0 h 658144"/>
                    <a:gd name="connsiteX0" fmla="*/ 0 w 895825"/>
                    <a:gd name="connsiteY0" fmla="*/ 0 h 660525"/>
                    <a:gd name="connsiteX1" fmla="*/ 348138 w 895825"/>
                    <a:gd name="connsiteY1" fmla="*/ 50007 h 660525"/>
                    <a:gd name="connsiteX2" fmla="*/ 895825 w 895825"/>
                    <a:gd name="connsiteY2" fmla="*/ 660384 h 660525"/>
                    <a:gd name="connsiteX3" fmla="*/ 0 w 895825"/>
                    <a:gd name="connsiteY3" fmla="*/ 0 h 660525"/>
                    <a:gd name="connsiteX0" fmla="*/ 0 w 895825"/>
                    <a:gd name="connsiteY0" fmla="*/ 0 h 660561"/>
                    <a:gd name="connsiteX1" fmla="*/ 348138 w 895825"/>
                    <a:gd name="connsiteY1" fmla="*/ 50007 h 660561"/>
                    <a:gd name="connsiteX2" fmla="*/ 895825 w 895825"/>
                    <a:gd name="connsiteY2" fmla="*/ 660384 h 660561"/>
                    <a:gd name="connsiteX3" fmla="*/ 0 w 895825"/>
                    <a:gd name="connsiteY3" fmla="*/ 0 h 660561"/>
                    <a:gd name="connsiteX0" fmla="*/ 0 w 895825"/>
                    <a:gd name="connsiteY0" fmla="*/ 0 h 660426"/>
                    <a:gd name="connsiteX1" fmla="*/ 348138 w 895825"/>
                    <a:gd name="connsiteY1" fmla="*/ 50007 h 660426"/>
                    <a:gd name="connsiteX2" fmla="*/ 895825 w 895825"/>
                    <a:gd name="connsiteY2" fmla="*/ 660384 h 660426"/>
                    <a:gd name="connsiteX3" fmla="*/ 0 w 895825"/>
                    <a:gd name="connsiteY3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900587"/>
                    <a:gd name="connsiteY0" fmla="*/ 0 h 653284"/>
                    <a:gd name="connsiteX1" fmla="*/ 900587 w 900587"/>
                    <a:gd name="connsiteY1" fmla="*/ 653241 h 653284"/>
                    <a:gd name="connsiteX2" fmla="*/ 0 w 900587"/>
                    <a:gd name="connsiteY2" fmla="*/ 0 h 653284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0587" h="653951">
                      <a:moveTo>
                        <a:pt x="0" y="0"/>
                      </a:moveTo>
                      <a:cubicBezTo>
                        <a:pt x="115251" y="279659"/>
                        <a:pt x="432910" y="642663"/>
                        <a:pt x="900587" y="653241"/>
                      </a:cubicBezTo>
                      <a:cubicBezTo>
                        <a:pt x="420210" y="672031"/>
                        <a:pt x="80327" y="314584"/>
                        <a:pt x="0" y="0"/>
                      </a:cubicBezTo>
                      <a:close/>
                    </a:path>
                  </a:pathLst>
                </a:custGeom>
                <a:solidFill>
                  <a:srgbClr val="EC1C29">
                    <a:lumMod val="40000"/>
                    <a:lumOff val="60000"/>
                    <a:alpha val="59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527" name="Rectangle 163"/>
              <p:cNvSpPr>
                <a:spLocks noChangeArrowheads="1"/>
              </p:cNvSpPr>
              <p:nvPr/>
            </p:nvSpPr>
            <p:spPr bwMode="auto">
              <a:xfrm>
                <a:off x="6020246" y="1150887"/>
                <a:ext cx="391643" cy="4934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US" b="1" kern="0" dirty="0">
                    <a:solidFill>
                      <a:srgbClr val="000000"/>
                    </a:solidFill>
                    <a:latin typeface="Arial" pitchFamily="34" charset="0"/>
                    <a:ea typeface="ＭＳ Ｐゴシック" pitchFamily="1" charset="-128"/>
                    <a:cs typeface="Arial" pitchFamily="34" charset="0"/>
                  </a:rPr>
                  <a:t>F</a:t>
                </a:r>
              </a:p>
            </p:txBody>
          </p:sp>
          <p:sp>
            <p:nvSpPr>
              <p:cNvPr id="528" name="Oval 527"/>
              <p:cNvSpPr/>
              <p:nvPr/>
            </p:nvSpPr>
            <p:spPr>
              <a:xfrm>
                <a:off x="6066123" y="1199738"/>
                <a:ext cx="295249" cy="198738"/>
              </a:xfrm>
              <a:prstGeom prst="ellipse">
                <a:avLst/>
              </a:prstGeom>
              <a:gradFill>
                <a:gsLst>
                  <a:gs pos="100000">
                    <a:sysClr val="window" lastClr="FFFFFF">
                      <a:alpha val="0"/>
                    </a:sysClr>
                  </a:gs>
                  <a:gs pos="0">
                    <a:sysClr val="window" lastClr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US" b="1" ker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473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0.23212 0.05926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59700" y="29630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22222E-6 L -0.24931 0.05926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4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6500" y="296300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2.22222E-6 L 0.27118 0.216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4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5900" y="108330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1.48148E-6 L 0.27222 0.21667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4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1100" y="108330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-1.11111E-6 L 0.23594 0.05602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8800" y="280100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1.11111E-6 L -0.25191 0.05579 " pathEditMode="relative" rAng="0" ptsTypes="AA">
                                      <p:cBhvr>
                                        <p:cTn id="37" dur="2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60400" y="27780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1.85185E-6 L 0.23108 0.06158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54500" y="30790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85185E-6 L -0.24826 0.06158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1300" y="307900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2000"/>
                                        <p:tgtEl>
                                          <p:spTgt spid="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2000"/>
                                        <p:tgtEl>
                                          <p:spTgt spid="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68 0.00069 L 0.28576 -0.22824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4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85400" y="-1145800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69 2.59259E-6 L 0.29497 -0.14028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0600" y="-7014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2" dur="1000" fill="hold"/>
                                        <p:tgtEl>
                                          <p:spTgt spid="5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1" grpId="0" animBg="1"/>
      <p:bldP spid="366" grpId="0"/>
      <p:bldP spid="522" grpId="0" animBg="1"/>
      <p:bldP spid="522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3"/>
          <p:cNvSpPr txBox="1">
            <a:spLocks noChangeArrowheads="1"/>
          </p:cNvSpPr>
          <p:nvPr/>
        </p:nvSpPr>
        <p:spPr bwMode="auto">
          <a:xfrm>
            <a:off x="771525" y="1125538"/>
            <a:ext cx="2011363" cy="6477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AU" altLang="en-US" i="1" kern="0" dirty="0" smtClean="0">
                <a:solidFill>
                  <a:srgbClr val="1F497D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tation specific</a:t>
            </a:r>
            <a:endParaRPr lang="en-AU" altLang="en-US" i="1" kern="0" dirty="0">
              <a:solidFill>
                <a:srgbClr val="1F497D"/>
              </a:solidFill>
              <a:latin typeface="Calibri" panose="020F0502020204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 eaLnBrk="1" hangingPunct="1">
              <a:defRPr/>
            </a:pPr>
            <a:r>
              <a:rPr lang="en-AU" altLang="en-US" b="1" i="1" kern="0" dirty="0" smtClean="0">
                <a:solidFill>
                  <a:prstClr val="white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ex</a:t>
            </a:r>
            <a:r>
              <a:rPr lang="en-AU" altLang="en-US" i="1" kern="0" dirty="0" smtClean="0">
                <a:solidFill>
                  <a:srgbClr val="003A4A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mer</a:t>
            </a:r>
          </a:p>
        </p:txBody>
      </p:sp>
      <p:grpSp>
        <p:nvGrpSpPr>
          <p:cNvPr id="33794" name="Group 12"/>
          <p:cNvGrpSpPr>
            <a:grpSpLocks/>
          </p:cNvGrpSpPr>
          <p:nvPr/>
        </p:nvGrpSpPr>
        <p:grpSpPr bwMode="auto">
          <a:xfrm>
            <a:off x="2636838" y="1971675"/>
            <a:ext cx="1712912" cy="73025"/>
            <a:chOff x="3001155" y="2149811"/>
            <a:chExt cx="1712223" cy="97994"/>
          </a:xfrm>
        </p:grpSpPr>
        <p:sp>
          <p:nvSpPr>
            <p:cNvPr id="14" name="Rectangle 28"/>
            <p:cNvSpPr>
              <a:spLocks noChangeArrowheads="1"/>
            </p:cNvSpPr>
            <p:nvPr/>
          </p:nvSpPr>
          <p:spPr bwMode="auto">
            <a:xfrm>
              <a:off x="3602575" y="2149811"/>
              <a:ext cx="30151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" name="Rectangle 30"/>
            <p:cNvSpPr>
              <a:spLocks noChangeArrowheads="1"/>
            </p:cNvSpPr>
            <p:nvPr/>
          </p:nvSpPr>
          <p:spPr bwMode="auto">
            <a:xfrm>
              <a:off x="3001155" y="2149811"/>
              <a:ext cx="33324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" name="Rectangle 31"/>
            <p:cNvSpPr>
              <a:spLocks noChangeArrowheads="1"/>
            </p:cNvSpPr>
            <p:nvPr/>
          </p:nvSpPr>
          <p:spPr bwMode="auto">
            <a:xfrm>
              <a:off x="3121756" y="2149811"/>
              <a:ext cx="33324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Rectangle 32"/>
            <p:cNvSpPr>
              <a:spLocks noChangeArrowheads="1"/>
            </p:cNvSpPr>
            <p:nvPr/>
          </p:nvSpPr>
          <p:spPr bwMode="auto">
            <a:xfrm>
              <a:off x="3243944" y="2149811"/>
              <a:ext cx="31737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8" name="Rectangle 33"/>
            <p:cNvSpPr>
              <a:spLocks noChangeArrowheads="1"/>
            </p:cNvSpPr>
            <p:nvPr/>
          </p:nvSpPr>
          <p:spPr bwMode="auto">
            <a:xfrm>
              <a:off x="3481974" y="2149811"/>
              <a:ext cx="31737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9" name="Rectangle 34"/>
            <p:cNvSpPr>
              <a:spLocks noChangeArrowheads="1"/>
            </p:cNvSpPr>
            <p:nvPr/>
          </p:nvSpPr>
          <p:spPr bwMode="auto">
            <a:xfrm>
              <a:off x="3721590" y="2149811"/>
              <a:ext cx="30150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0" name="Rectangle 35"/>
            <p:cNvSpPr>
              <a:spLocks noChangeArrowheads="1"/>
            </p:cNvSpPr>
            <p:nvPr/>
          </p:nvSpPr>
          <p:spPr bwMode="auto">
            <a:xfrm>
              <a:off x="3840604" y="2149811"/>
              <a:ext cx="31737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1" name="Rectangle 36"/>
            <p:cNvSpPr>
              <a:spLocks noChangeArrowheads="1"/>
            </p:cNvSpPr>
            <p:nvPr/>
          </p:nvSpPr>
          <p:spPr bwMode="auto">
            <a:xfrm>
              <a:off x="3959619" y="2149811"/>
              <a:ext cx="31737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2" name="Rectangle 37"/>
            <p:cNvSpPr>
              <a:spLocks noChangeArrowheads="1"/>
            </p:cNvSpPr>
            <p:nvPr/>
          </p:nvSpPr>
          <p:spPr bwMode="auto">
            <a:xfrm>
              <a:off x="3362959" y="2149811"/>
              <a:ext cx="31737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3" name="Rectangle 28"/>
            <p:cNvSpPr>
              <a:spLocks noChangeArrowheads="1"/>
            </p:cNvSpPr>
            <p:nvPr/>
          </p:nvSpPr>
          <p:spPr bwMode="auto">
            <a:xfrm>
              <a:off x="4199235" y="2149811"/>
              <a:ext cx="30151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4" name="Rectangle 29"/>
            <p:cNvSpPr>
              <a:spLocks noChangeArrowheads="1"/>
            </p:cNvSpPr>
            <p:nvPr/>
          </p:nvSpPr>
          <p:spPr bwMode="auto">
            <a:xfrm>
              <a:off x="4318250" y="2149811"/>
              <a:ext cx="33324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5" name="Rectangle 30"/>
            <p:cNvSpPr>
              <a:spLocks noChangeArrowheads="1"/>
            </p:cNvSpPr>
            <p:nvPr/>
          </p:nvSpPr>
          <p:spPr bwMode="auto">
            <a:xfrm>
              <a:off x="4438851" y="2149811"/>
              <a:ext cx="33324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Rectangle 31"/>
            <p:cNvSpPr>
              <a:spLocks noChangeArrowheads="1"/>
            </p:cNvSpPr>
            <p:nvPr/>
          </p:nvSpPr>
          <p:spPr bwMode="auto">
            <a:xfrm>
              <a:off x="4561039" y="2149811"/>
              <a:ext cx="33325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7" name="Rectangle 32"/>
            <p:cNvSpPr>
              <a:spLocks noChangeArrowheads="1"/>
            </p:cNvSpPr>
            <p:nvPr/>
          </p:nvSpPr>
          <p:spPr bwMode="auto">
            <a:xfrm>
              <a:off x="4681641" y="2149811"/>
              <a:ext cx="31737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8" name="Rectangle 37"/>
            <p:cNvSpPr>
              <a:spLocks noChangeArrowheads="1"/>
            </p:cNvSpPr>
            <p:nvPr/>
          </p:nvSpPr>
          <p:spPr bwMode="auto">
            <a:xfrm>
              <a:off x="4080221" y="2149811"/>
              <a:ext cx="30150" cy="97994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0" name="Rectangle 257"/>
          <p:cNvSpPr>
            <a:spLocks noChangeArrowheads="1"/>
          </p:cNvSpPr>
          <p:nvPr/>
        </p:nvSpPr>
        <p:spPr bwMode="auto">
          <a:xfrm>
            <a:off x="2626169" y="1813163"/>
            <a:ext cx="1584000" cy="135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 fov="2700000"/>
            <a:lightRig rig="threePt" dir="t">
              <a:rot lat="0" lon="0" rev="3600000"/>
            </a:lightRig>
          </a:scene3d>
          <a:sp3d extrusionH="127000" contourW="6350" prstMaterial="plastic">
            <a:bevelT w="38100" h="25400"/>
            <a:contourClr>
              <a:schemeClr val="bg1"/>
            </a:contourClr>
          </a:sp3d>
        </p:spPr>
        <p:txBody>
          <a:bodyPr anchor="ctr"/>
          <a:lstStyle/>
          <a:p>
            <a:pPr algn="ctr">
              <a:defRPr/>
            </a:pPr>
            <a:endParaRPr lang="en-AU" kern="0" dirty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40" name="Group 39"/>
          <p:cNvGrpSpPr>
            <a:grpSpLocks/>
          </p:cNvGrpSpPr>
          <p:nvPr/>
        </p:nvGrpSpPr>
        <p:grpSpPr bwMode="auto">
          <a:xfrm>
            <a:off x="1397000" y="1677988"/>
            <a:ext cx="2411413" cy="384175"/>
            <a:chOff x="891235" y="3466018"/>
            <a:chExt cx="2412000" cy="512377"/>
          </a:xfrm>
        </p:grpSpPr>
        <p:sp>
          <p:nvSpPr>
            <p:cNvPr id="41" name="Rectangle 257"/>
            <p:cNvSpPr>
              <a:spLocks noChangeArrowheads="1"/>
            </p:cNvSpPr>
            <p:nvPr/>
          </p:nvSpPr>
          <p:spPr bwMode="auto">
            <a:xfrm>
              <a:off x="891235" y="3647523"/>
              <a:ext cx="1584000" cy="18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9050" cap="flat" cmpd="sng" algn="ctr">
              <a:noFill/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Below" fov="2700000"/>
              <a:lightRig rig="threePt" dir="t">
                <a:rot lat="0" lon="0" rev="3600000"/>
              </a:lightRig>
            </a:scene3d>
            <a:sp3d extrusionH="127000" contourW="635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475946" y="3466018"/>
              <a:ext cx="827289" cy="5123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AU">
                <a:solidFill>
                  <a:prstClr val="white"/>
                </a:solidFill>
              </a:endParaRPr>
            </a:p>
          </p:txBody>
        </p:sp>
        <p:sp>
          <p:nvSpPr>
            <p:cNvPr id="43" name="Rectangle 28"/>
            <p:cNvSpPr>
              <a:spLocks noChangeArrowheads="1"/>
            </p:cNvSpPr>
            <p:nvPr/>
          </p:nvSpPr>
          <p:spPr bwMode="auto">
            <a:xfrm>
              <a:off x="922993" y="3857710"/>
              <a:ext cx="30170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" name="Rectangle 34"/>
            <p:cNvSpPr>
              <a:spLocks noChangeArrowheads="1"/>
            </p:cNvSpPr>
            <p:nvPr/>
          </p:nvSpPr>
          <p:spPr bwMode="auto">
            <a:xfrm>
              <a:off x="1042085" y="3857710"/>
              <a:ext cx="31758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5" name="Rectangle 35"/>
            <p:cNvSpPr>
              <a:spLocks noChangeArrowheads="1"/>
            </p:cNvSpPr>
            <p:nvPr/>
          </p:nvSpPr>
          <p:spPr bwMode="auto">
            <a:xfrm>
              <a:off x="1161176" y="3857710"/>
              <a:ext cx="31758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6" name="Rectangle 36"/>
            <p:cNvSpPr>
              <a:spLocks noChangeArrowheads="1"/>
            </p:cNvSpPr>
            <p:nvPr/>
          </p:nvSpPr>
          <p:spPr bwMode="auto">
            <a:xfrm>
              <a:off x="1280268" y="3857710"/>
              <a:ext cx="31758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7" name="Rectangle 28"/>
            <p:cNvSpPr>
              <a:spLocks noChangeArrowheads="1"/>
            </p:cNvSpPr>
            <p:nvPr/>
          </p:nvSpPr>
          <p:spPr bwMode="auto">
            <a:xfrm>
              <a:off x="1520038" y="3857710"/>
              <a:ext cx="30170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Rectangle 29"/>
            <p:cNvSpPr>
              <a:spLocks noChangeArrowheads="1"/>
            </p:cNvSpPr>
            <p:nvPr/>
          </p:nvSpPr>
          <p:spPr bwMode="auto">
            <a:xfrm>
              <a:off x="1639130" y="3857710"/>
              <a:ext cx="33345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9" name="Rectangle 30"/>
            <p:cNvSpPr>
              <a:spLocks noChangeArrowheads="1"/>
            </p:cNvSpPr>
            <p:nvPr/>
          </p:nvSpPr>
          <p:spPr bwMode="auto">
            <a:xfrm>
              <a:off x="1759809" y="3857710"/>
              <a:ext cx="33345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Rectangle 31"/>
            <p:cNvSpPr>
              <a:spLocks noChangeArrowheads="1"/>
            </p:cNvSpPr>
            <p:nvPr/>
          </p:nvSpPr>
          <p:spPr bwMode="auto">
            <a:xfrm>
              <a:off x="1882076" y="3857710"/>
              <a:ext cx="33346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Rectangle 32"/>
            <p:cNvSpPr>
              <a:spLocks noChangeArrowheads="1"/>
            </p:cNvSpPr>
            <p:nvPr/>
          </p:nvSpPr>
          <p:spPr bwMode="auto">
            <a:xfrm>
              <a:off x="2002756" y="3857710"/>
              <a:ext cx="31758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Rectangle 37"/>
            <p:cNvSpPr>
              <a:spLocks noChangeArrowheads="1"/>
            </p:cNvSpPr>
            <p:nvPr/>
          </p:nvSpPr>
          <p:spPr bwMode="auto">
            <a:xfrm>
              <a:off x="1399359" y="3857710"/>
              <a:ext cx="31758" cy="99512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53" name="Group 52"/>
          <p:cNvGrpSpPr>
            <a:grpSpLocks/>
          </p:cNvGrpSpPr>
          <p:nvPr/>
        </p:nvGrpSpPr>
        <p:grpSpPr bwMode="auto">
          <a:xfrm>
            <a:off x="987425" y="1376363"/>
            <a:ext cx="2868613" cy="762000"/>
            <a:chOff x="-121596" y="1973812"/>
            <a:chExt cx="2869150" cy="1015190"/>
          </a:xfrm>
        </p:grpSpPr>
        <p:sp>
          <p:nvSpPr>
            <p:cNvPr id="56" name="TextBox 55"/>
            <p:cNvSpPr txBox="1"/>
            <p:nvPr/>
          </p:nvSpPr>
          <p:spPr>
            <a:xfrm>
              <a:off x="1815517" y="2650605"/>
              <a:ext cx="932037" cy="33839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457200">
                <a:defRPr/>
              </a:pPr>
              <a:r>
                <a:rPr lang="en-AU" sz="1050" b="1" dirty="0">
                  <a:solidFill>
                    <a:srgbClr val="EC1C29"/>
                  </a:solidFill>
                  <a:cs typeface="Arial" pitchFamily="34" charset="0"/>
                </a:rPr>
                <a:t>X  </a:t>
              </a:r>
              <a:r>
                <a:rPr lang="en-AU" sz="1050" b="1" dirty="0" err="1">
                  <a:solidFill>
                    <a:srgbClr val="EC1C29"/>
                  </a:solidFill>
                  <a:cs typeface="Arial" pitchFamily="34" charset="0"/>
                </a:rPr>
                <a:t>X</a:t>
              </a:r>
              <a:r>
                <a:rPr lang="en-AU" sz="1050" b="1" dirty="0">
                  <a:solidFill>
                    <a:srgbClr val="EC1C29"/>
                  </a:solidFill>
                  <a:cs typeface="Arial" pitchFamily="34" charset="0"/>
                </a:rPr>
                <a:t>  </a:t>
              </a:r>
              <a:r>
                <a:rPr lang="en-AU" sz="1050" b="1" dirty="0" err="1">
                  <a:solidFill>
                    <a:srgbClr val="EC1C29"/>
                  </a:solidFill>
                  <a:cs typeface="Arial" pitchFamily="34" charset="0"/>
                </a:rPr>
                <a:t>X</a:t>
              </a:r>
              <a:r>
                <a:rPr lang="en-AU" sz="1050" b="1" dirty="0">
                  <a:solidFill>
                    <a:srgbClr val="EC1C29"/>
                  </a:solidFill>
                  <a:cs typeface="Arial" pitchFamily="34" charset="0"/>
                </a:rPr>
                <a:t>  </a:t>
              </a:r>
              <a:r>
                <a:rPr lang="en-AU" sz="1050" b="1" dirty="0" err="1">
                  <a:solidFill>
                    <a:srgbClr val="EC1C29"/>
                  </a:solidFill>
                  <a:cs typeface="Arial" pitchFamily="34" charset="0"/>
                </a:rPr>
                <a:t>X</a:t>
              </a:r>
              <a:r>
                <a:rPr lang="en-AU" sz="1050" b="1" dirty="0">
                  <a:solidFill>
                    <a:srgbClr val="EC1C29"/>
                  </a:solidFill>
                  <a:cs typeface="Arial" pitchFamily="34" charset="0"/>
                </a:rPr>
                <a:t>  </a:t>
              </a:r>
              <a:r>
                <a:rPr lang="en-AU" sz="1050" b="1" dirty="0" err="1">
                  <a:solidFill>
                    <a:srgbClr val="EC1C29"/>
                  </a:solidFill>
                  <a:cs typeface="Arial" pitchFamily="34" charset="0"/>
                </a:rPr>
                <a:t>X</a:t>
              </a:r>
              <a:r>
                <a:rPr lang="en-AU" sz="1050" b="1" dirty="0">
                  <a:solidFill>
                    <a:srgbClr val="EC1C29"/>
                  </a:solidFill>
                  <a:cs typeface="Arial" pitchFamily="34" charset="0"/>
                </a:rPr>
                <a:t>  </a:t>
              </a:r>
              <a:r>
                <a:rPr lang="en-AU" sz="1050" b="1" dirty="0" err="1">
                  <a:solidFill>
                    <a:srgbClr val="EC1C29"/>
                  </a:solidFill>
                  <a:cs typeface="Arial" pitchFamily="34" charset="0"/>
                </a:rPr>
                <a:t>X</a:t>
              </a:r>
              <a:endParaRPr lang="en-AU" sz="1050" b="1" dirty="0">
                <a:solidFill>
                  <a:srgbClr val="EC1C29"/>
                </a:solidFill>
                <a:cs typeface="Arial" pitchFamily="34" charset="0"/>
              </a:endParaRPr>
            </a:p>
          </p:txBody>
        </p:sp>
        <p:sp>
          <p:nvSpPr>
            <p:cNvPr id="54" name="TextBox 83"/>
            <p:cNvSpPr txBox="1">
              <a:spLocks noChangeArrowheads="1"/>
            </p:cNvSpPr>
            <p:nvPr/>
          </p:nvSpPr>
          <p:spPr bwMode="auto">
            <a:xfrm>
              <a:off x="-121596" y="1973812"/>
              <a:ext cx="887579" cy="53297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AU" altLang="en-US" sz="2000" b="1" i="1" kern="0" dirty="0" err="1" smtClean="0">
                  <a:solidFill>
                    <a:srgbClr val="EC000F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lex</a:t>
              </a:r>
              <a:endParaRPr lang="en-AU" altLang="en-US" sz="2000" i="1" kern="0" dirty="0" smtClean="0">
                <a:solidFill>
                  <a:srgbClr val="003A4A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5" name="Rectangle 257"/>
            <p:cNvSpPr>
              <a:spLocks noChangeArrowheads="1"/>
            </p:cNvSpPr>
            <p:nvPr/>
          </p:nvSpPr>
          <p:spPr bwMode="auto">
            <a:xfrm>
              <a:off x="1864426" y="2557877"/>
              <a:ext cx="846000" cy="180000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</a:ln>
            <a:effectLst>
              <a:outerShdw blurRad="63500" dist="38100" dir="16200000" sx="92000" sy="92000" rotWithShape="0">
                <a:prstClr val="black">
                  <a:alpha val="34000"/>
                </a:prstClr>
              </a:outerShdw>
            </a:effectLst>
            <a:scene3d>
              <a:camera prst="perspectiveBelow" fov="2700000"/>
              <a:lightRig rig="threePt" dir="t">
                <a:rot lat="0" lon="0" rev="3600000"/>
              </a:lightRig>
            </a:scene3d>
            <a:sp3d extrusionH="127000" contourW="635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8" name="Rectangle 257"/>
          <p:cNvSpPr>
            <a:spLocks noChangeArrowheads="1"/>
          </p:cNvSpPr>
          <p:nvPr/>
        </p:nvSpPr>
        <p:spPr bwMode="auto">
          <a:xfrm>
            <a:off x="1182684" y="2112708"/>
            <a:ext cx="7560000" cy="135000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 fov="2700000"/>
            <a:lightRig rig="threePt" dir="t">
              <a:rot lat="0" lon="0" rev="3600000"/>
            </a:lightRig>
          </a:scene3d>
          <a:sp3d extrusionH="127000" contourW="6350" prstMaterial="plastic">
            <a:bevelT w="38100" h="25400"/>
            <a:contourClr>
              <a:schemeClr val="bg1"/>
            </a:contourClr>
          </a:sp3d>
        </p:spPr>
        <p:txBody>
          <a:bodyPr anchor="ctr"/>
          <a:lstStyle/>
          <a:p>
            <a:pPr algn="ctr">
              <a:defRPr/>
            </a:pPr>
            <a:endParaRPr lang="en-AU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" name="Rectangle 257"/>
          <p:cNvSpPr>
            <a:spLocks noChangeArrowheads="1"/>
          </p:cNvSpPr>
          <p:nvPr/>
        </p:nvSpPr>
        <p:spPr bwMode="auto">
          <a:xfrm rot="5400000">
            <a:off x="4217905" y="1735211"/>
            <a:ext cx="216000" cy="256675"/>
          </a:xfrm>
          <a:prstGeom prst="triangle">
            <a:avLst/>
          </a:prstGeom>
          <a:solidFill>
            <a:srgbClr val="FF9900"/>
          </a:solidFill>
          <a:ln w="19050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Below" fov="2700000"/>
            <a:lightRig rig="threePt" dir="t">
              <a:rot lat="0" lon="0" rev="3600000"/>
            </a:lightRig>
          </a:scene3d>
          <a:sp3d extrusionH="127000" contourW="6350" prstMaterial="plastic">
            <a:bevelT w="38100" h="25400" prst="relaxedInset"/>
            <a:contourClr>
              <a:schemeClr val="bg1"/>
            </a:contourClr>
          </a:sp3d>
        </p:spPr>
        <p:txBody>
          <a:bodyPr anchor="ctr"/>
          <a:lstStyle/>
          <a:p>
            <a:pPr algn="ctr">
              <a:defRPr/>
            </a:pPr>
            <a:endParaRPr lang="en-AU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214135" y="2098429"/>
            <a:ext cx="180000" cy="135000"/>
          </a:xfrm>
          <a:prstGeom prst="rect">
            <a:avLst/>
          </a:prstGeom>
          <a:solidFill>
            <a:srgbClr val="D27D00">
              <a:alpha val="83000"/>
            </a:srgbClr>
          </a:solidFill>
          <a:ln w="127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endParaRPr lang="en-US" kern="0" dirty="0">
              <a:solidFill>
                <a:prstClr val="white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3803" name="Straight Arrow Connector 33"/>
          <p:cNvCxnSpPr>
            <a:cxnSpLocks noChangeShapeType="1"/>
          </p:cNvCxnSpPr>
          <p:nvPr/>
        </p:nvCxnSpPr>
        <p:spPr bwMode="auto">
          <a:xfrm flipH="1">
            <a:off x="4559300" y="1768475"/>
            <a:ext cx="360363" cy="55563"/>
          </a:xfrm>
          <a:prstGeom prst="straightConnector1">
            <a:avLst/>
          </a:prstGeom>
          <a:noFill/>
          <a:ln w="25400" algn="ctr">
            <a:solidFill>
              <a:srgbClr val="EE8E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804" name="Title 2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/>
          <a:lstStyle/>
          <a:p>
            <a:r>
              <a:rPr lang="en-AU" i="1" smtClean="0">
                <a:solidFill>
                  <a:srgbClr val="FF0000"/>
                </a:solidFill>
                <a:ea typeface="Open Sans"/>
                <a:cs typeface="Open Sans"/>
              </a:rPr>
              <a:t>Plex</a:t>
            </a:r>
            <a:r>
              <a:rPr lang="en-AU" i="1" smtClean="0">
                <a:solidFill>
                  <a:srgbClr val="003D46"/>
                </a:solidFill>
                <a:ea typeface="Open Sans"/>
                <a:cs typeface="Open Sans"/>
              </a:rPr>
              <a:t>Prime</a:t>
            </a:r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™ for mutation detection</a:t>
            </a:r>
            <a:b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</a:br>
            <a:r>
              <a:rPr lang="en-AU" smtClean="0">
                <a:solidFill>
                  <a:srgbClr val="003D46"/>
                </a:solidFill>
                <a:ea typeface="Open Sans"/>
                <a:cs typeface="Open Sans"/>
              </a:rPr>
              <a:t>Enhanced specificity and superior multiplexing</a:t>
            </a:r>
            <a:endParaRPr lang="en-AU" smtClean="0">
              <a:ea typeface="Open Sans"/>
              <a:cs typeface="Open Sans"/>
            </a:endParaRPr>
          </a:p>
        </p:txBody>
      </p:sp>
      <p:grpSp>
        <p:nvGrpSpPr>
          <p:cNvPr id="33805" name="Group 4"/>
          <p:cNvGrpSpPr>
            <a:grpSpLocks/>
          </p:cNvGrpSpPr>
          <p:nvPr/>
        </p:nvGrpSpPr>
        <p:grpSpPr bwMode="auto">
          <a:xfrm>
            <a:off x="0" y="3498850"/>
            <a:ext cx="1243013" cy="1651000"/>
            <a:chOff x="-1" y="5048309"/>
            <a:chExt cx="2028825" cy="1723516"/>
          </a:xfrm>
        </p:grpSpPr>
        <p:sp>
          <p:nvSpPr>
            <p:cNvPr id="6" name="Rectangle 5"/>
            <p:cNvSpPr/>
            <p:nvPr/>
          </p:nvSpPr>
          <p:spPr>
            <a:xfrm>
              <a:off x="-1" y="5048309"/>
              <a:ext cx="746234" cy="172351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AU">
                <a:solidFill>
                  <a:prstClr val="white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 rot="5400000">
              <a:off x="605905" y="5348906"/>
              <a:ext cx="817012" cy="20288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AU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 flipH="1">
            <a:off x="6789105" y="2053190"/>
            <a:ext cx="1537125" cy="216000"/>
            <a:chOff x="4880995" y="3899162"/>
            <a:chExt cx="1537125" cy="288000"/>
          </a:xfrm>
          <a:solidFill>
            <a:schemeClr val="accent2"/>
          </a:solidFill>
        </p:grpSpPr>
        <p:sp>
          <p:nvSpPr>
            <p:cNvPr id="30" name="Rectangle 257"/>
            <p:cNvSpPr>
              <a:spLocks noChangeArrowheads="1"/>
            </p:cNvSpPr>
            <p:nvPr/>
          </p:nvSpPr>
          <p:spPr bwMode="auto">
            <a:xfrm>
              <a:off x="4880995" y="3975989"/>
              <a:ext cx="1296000" cy="180000"/>
            </a:xfrm>
            <a:prstGeom prst="rect">
              <a:avLst/>
            </a:prstGeom>
            <a:grpFill/>
            <a:ln w="19050" cap="flat" cmpd="sng" algn="ctr">
              <a:noFill/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Below" fov="2700000"/>
              <a:lightRig rig="threePt" dir="t">
                <a:rot lat="0" lon="0" rev="3600000"/>
              </a:lightRig>
            </a:scene3d>
            <a:sp3d extrusionH="127000" contourW="635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1" name="Rectangle 257"/>
            <p:cNvSpPr>
              <a:spLocks noChangeArrowheads="1"/>
            </p:cNvSpPr>
            <p:nvPr/>
          </p:nvSpPr>
          <p:spPr bwMode="auto">
            <a:xfrm rot="5400000">
              <a:off x="6145783" y="3914824"/>
              <a:ext cx="288000" cy="256675"/>
            </a:xfrm>
            <a:prstGeom prst="triangle">
              <a:avLst/>
            </a:prstGeom>
            <a:grpFill/>
            <a:ln w="19050" cap="flat" cmpd="sng" algn="ctr">
              <a:noFill/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Below" fov="2700000"/>
              <a:lightRig rig="threePt" dir="t">
                <a:rot lat="0" lon="0" rev="3600000"/>
              </a:lightRig>
            </a:scene3d>
            <a:sp3d extrusionH="127000" contourW="6350" prstMaterial="plastic">
              <a:bevelT w="38100" h="25400" prst="relaxedInset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32" name="TextBox 31"/>
          <p:cNvSpPr txBox="1">
            <a:spLocks noChangeArrowheads="1"/>
          </p:cNvSpPr>
          <p:nvPr/>
        </p:nvSpPr>
        <p:spPr bwMode="auto">
          <a:xfrm>
            <a:off x="7015163" y="2305050"/>
            <a:ext cx="1289050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AU" altLang="en-US" sz="1200" b="1" kern="0" dirty="0" smtClean="0">
                <a:solidFill>
                  <a:srgbClr val="000000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ndard primer</a:t>
            </a:r>
            <a:endParaRPr lang="en-US" altLang="en-US" sz="1200" b="1" kern="0" dirty="0">
              <a:solidFill>
                <a:srgbClr val="000000"/>
              </a:solidFill>
              <a:latin typeface="Calibri" panose="020F0502020204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/>
        </p:nvSpPr>
        <p:spPr bwMode="auto">
          <a:xfrm>
            <a:off x="4430713" y="1562100"/>
            <a:ext cx="1824037" cy="523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AU" altLang="en-US" sz="1400" b="1" kern="0" dirty="0">
                <a:solidFill>
                  <a:srgbClr val="F79646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en-AU" altLang="en-US" sz="1400" b="1" kern="0" dirty="0" err="1" smtClean="0">
                <a:solidFill>
                  <a:srgbClr val="F79646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tches</a:t>
            </a:r>
            <a:r>
              <a:rPr lang="en-AU" altLang="en-US" sz="1400" b="1" kern="0" dirty="0" smtClean="0">
                <a:solidFill>
                  <a:srgbClr val="F79646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algn="ctr" eaLnBrk="1" hangingPunct="1">
              <a:defRPr/>
            </a:pPr>
            <a:r>
              <a:rPr lang="en-AU" altLang="en-US" sz="1400" b="1" kern="0" dirty="0" smtClean="0">
                <a:solidFill>
                  <a:srgbClr val="F79646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tation</a:t>
            </a:r>
            <a:endParaRPr lang="en-US" altLang="en-US" sz="1400" b="1" kern="0" dirty="0">
              <a:solidFill>
                <a:srgbClr val="F79646">
                  <a:lumMod val="7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5" name="Group 34"/>
          <p:cNvGrpSpPr>
            <a:grpSpLocks/>
          </p:cNvGrpSpPr>
          <p:nvPr/>
        </p:nvGrpSpPr>
        <p:grpSpPr bwMode="auto">
          <a:xfrm>
            <a:off x="3881438" y="1071563"/>
            <a:ext cx="1673225" cy="862012"/>
            <a:chOff x="3414195" y="1566682"/>
            <a:chExt cx="1188244" cy="1149127"/>
          </a:xfrm>
        </p:grpSpPr>
        <p:sp>
          <p:nvSpPr>
            <p:cNvPr id="36" name="Rectangle 35"/>
            <p:cNvSpPr/>
            <p:nvPr/>
          </p:nvSpPr>
          <p:spPr>
            <a:xfrm>
              <a:off x="3492041" y="2535809"/>
              <a:ext cx="102236" cy="180000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33911" name="Group 36"/>
            <p:cNvGrpSpPr>
              <a:grpSpLocks/>
            </p:cNvGrpSpPr>
            <p:nvPr/>
          </p:nvGrpSpPr>
          <p:grpSpPr bwMode="auto">
            <a:xfrm>
              <a:off x="3414195" y="1566682"/>
              <a:ext cx="1188244" cy="893457"/>
              <a:chOff x="2790735" y="1587464"/>
              <a:chExt cx="1188244" cy="893457"/>
            </a:xfrm>
          </p:grpSpPr>
          <p:sp>
            <p:nvSpPr>
              <p:cNvPr id="38" name="TextBox 37"/>
              <p:cNvSpPr txBox="1">
                <a:spLocks noChangeArrowheads="1"/>
              </p:cNvSpPr>
              <p:nvPr/>
            </p:nvSpPr>
            <p:spPr bwMode="auto">
              <a:xfrm>
                <a:off x="2790735" y="1587464"/>
                <a:ext cx="1188244" cy="69836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AU" altLang="en-US" sz="1400" b="1" kern="0" dirty="0">
                    <a:solidFill>
                      <a:srgbClr val="4F81BD">
                        <a:lumMod val="75000"/>
                      </a:srgbClr>
                    </a:solidFill>
                    <a:latin typeface="Calibri" panose="020F050202020403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ismatch increases specificity</a:t>
                </a:r>
                <a:endParaRPr lang="en-US" altLang="en-US" sz="1400" b="1" kern="0" dirty="0">
                  <a:solidFill>
                    <a:srgbClr val="4F81BD">
                      <a:lumMod val="75000"/>
                    </a:srgbClr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cxnSp>
            <p:nvCxnSpPr>
              <p:cNvPr id="39" name="Straight Arrow Connector 38"/>
              <p:cNvCxnSpPr/>
              <p:nvPr/>
            </p:nvCxnSpPr>
            <p:spPr>
              <a:xfrm flipH="1">
                <a:off x="2968859" y="2283712"/>
                <a:ext cx="107099" cy="196813"/>
              </a:xfrm>
              <a:prstGeom prst="straightConnector1">
                <a:avLst/>
              </a:prstGeom>
              <a:noFill/>
              <a:ln w="25400" cap="flat" cmpd="sng" algn="ctr">
                <a:solidFill>
                  <a:schemeClr val="tx2">
                    <a:lumMod val="75000"/>
                  </a:schemeClr>
                </a:solidFill>
                <a:prstDash val="solid"/>
                <a:headEnd type="none" w="med" len="med"/>
                <a:tailEnd type="triangle" w="med" len="med"/>
              </a:ln>
              <a:effectLst/>
            </p:spPr>
          </p:cxnSp>
        </p:grpSp>
      </p:grpSp>
      <p:grpSp>
        <p:nvGrpSpPr>
          <p:cNvPr id="58" name="Group 57"/>
          <p:cNvGrpSpPr>
            <a:grpSpLocks/>
          </p:cNvGrpSpPr>
          <p:nvPr/>
        </p:nvGrpSpPr>
        <p:grpSpPr bwMode="auto">
          <a:xfrm>
            <a:off x="73025" y="3738563"/>
            <a:ext cx="8302625" cy="533400"/>
            <a:chOff x="-422127" y="4717949"/>
            <a:chExt cx="8303061" cy="712866"/>
          </a:xfrm>
        </p:grpSpPr>
        <p:sp>
          <p:nvSpPr>
            <p:cNvPr id="59" name="Rectangle 257"/>
            <p:cNvSpPr>
              <a:spLocks noChangeArrowheads="1"/>
            </p:cNvSpPr>
            <p:nvPr/>
          </p:nvSpPr>
          <p:spPr bwMode="auto">
            <a:xfrm>
              <a:off x="896934" y="5250815"/>
              <a:ext cx="6984000" cy="18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9050" cap="flat" cmpd="sng" algn="ctr">
              <a:noFill/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Below" fov="2700000"/>
              <a:lightRig rig="threePt" dir="t">
                <a:rot lat="0" lon="0" rev="3600000"/>
              </a:lightRig>
            </a:scene3d>
            <a:sp3d extrusionH="127000" contourW="635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3718677" y="5245684"/>
              <a:ext cx="180000" cy="168000"/>
            </a:xfrm>
            <a:prstGeom prst="rect">
              <a:avLst/>
            </a:prstGeom>
            <a:solidFill>
              <a:srgbClr val="D27D00">
                <a:alpha val="83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1" name="Rectangle 257"/>
            <p:cNvSpPr>
              <a:spLocks noChangeArrowheads="1"/>
            </p:cNvSpPr>
            <p:nvPr/>
          </p:nvSpPr>
          <p:spPr bwMode="auto">
            <a:xfrm>
              <a:off x="2478278" y="5249735"/>
              <a:ext cx="846000" cy="181079"/>
            </a:xfrm>
            <a:prstGeom prst="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</a:ln>
            <a:effectLst>
              <a:outerShdw blurRad="63500" dist="38100" dir="16200000" sx="92000" sy="92000" rotWithShape="0">
                <a:prstClr val="black">
                  <a:alpha val="34000"/>
                </a:prstClr>
              </a:outerShdw>
            </a:effectLst>
            <a:scene3d>
              <a:camera prst="perspectiveBelow" fov="2700000"/>
              <a:lightRig rig="threePt" dir="t">
                <a:rot lat="0" lon="0" rev="3600000"/>
              </a:lightRig>
            </a:scene3d>
            <a:sp3d extrusionH="127000" contourW="635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3502747" y="5246562"/>
              <a:ext cx="144000" cy="167123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3" name="TextBox 83"/>
            <p:cNvSpPr txBox="1">
              <a:spLocks noChangeArrowheads="1"/>
            </p:cNvSpPr>
            <p:nvPr/>
          </p:nvSpPr>
          <p:spPr bwMode="auto">
            <a:xfrm>
              <a:off x="-422127" y="4717949"/>
              <a:ext cx="3233908" cy="53252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AU" altLang="en-US" sz="2000" b="1" i="1" kern="0" dirty="0" err="1" smtClean="0">
                  <a:solidFill>
                    <a:srgbClr val="EC1C29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lex</a:t>
              </a:r>
              <a:r>
                <a:rPr lang="en-AU" altLang="en-US" sz="2000" i="1" kern="0" dirty="0" err="1" smtClean="0">
                  <a:solidFill>
                    <a:srgbClr val="1F497D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ime</a:t>
              </a:r>
              <a:r>
                <a:rPr lang="en-AU" altLang="en-US" sz="2000" kern="0" dirty="0">
                  <a:solidFill>
                    <a:srgbClr val="0070C0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altLang="en-US" sz="2000" kern="0" dirty="0" smtClean="0">
                  <a:solidFill>
                    <a:srgbClr val="1F497D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plicon</a:t>
              </a:r>
              <a:endParaRPr lang="en-AU" altLang="en-US" sz="2000" kern="0" dirty="0">
                <a:solidFill>
                  <a:srgbClr val="1F497D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64" name="TextBox 63"/>
          <p:cNvSpPr txBox="1">
            <a:spLocks noChangeArrowheads="1"/>
          </p:cNvSpPr>
          <p:nvPr/>
        </p:nvSpPr>
        <p:spPr bwMode="auto">
          <a:xfrm>
            <a:off x="238125" y="4456113"/>
            <a:ext cx="8642350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AU" sz="2100" b="1" smtClean="0">
                <a:solidFill>
                  <a:srgbClr val="EC000F"/>
                </a:solidFill>
                <a:ea typeface="Open Sans"/>
                <a:cs typeface="Open Sans"/>
              </a:rPr>
              <a:t>Mutation specific </a:t>
            </a:r>
            <a:r>
              <a:rPr lang="en-AU" sz="2100" b="1" i="1" smtClean="0">
                <a:solidFill>
                  <a:srgbClr val="EC000F"/>
                </a:solidFill>
                <a:ea typeface="Open Sans"/>
                <a:cs typeface="Open Sans"/>
              </a:rPr>
              <a:t>Plex</a:t>
            </a:r>
            <a:r>
              <a:rPr lang="en-AU" sz="2100" i="1" smtClean="0">
                <a:solidFill>
                  <a:srgbClr val="000000"/>
                </a:solidFill>
                <a:ea typeface="Open Sans"/>
                <a:cs typeface="Open Sans"/>
              </a:rPr>
              <a:t>Prime</a:t>
            </a:r>
            <a:r>
              <a:rPr lang="en-AU" sz="2100" b="1" smtClean="0">
                <a:solidFill>
                  <a:srgbClr val="EC000F"/>
                </a:solidFill>
                <a:ea typeface="Open Sans"/>
                <a:cs typeface="Open Sans"/>
              </a:rPr>
              <a:t> </a:t>
            </a:r>
            <a:r>
              <a:rPr lang="en-AU" sz="2100" b="1" u="sng" smtClean="0">
                <a:solidFill>
                  <a:srgbClr val="EC000F"/>
                </a:solidFill>
                <a:ea typeface="Open Sans"/>
                <a:cs typeface="Open Sans"/>
              </a:rPr>
              <a:t>AND</a:t>
            </a:r>
            <a:r>
              <a:rPr lang="en-AU" sz="2100" b="1" smtClean="0">
                <a:solidFill>
                  <a:srgbClr val="EC000F"/>
                </a:solidFill>
                <a:ea typeface="Open Sans"/>
                <a:cs typeface="Open Sans"/>
              </a:rPr>
              <a:t> Mutation specific </a:t>
            </a:r>
            <a:r>
              <a:rPr lang="en-AU" sz="2100" b="1" i="1" smtClean="0">
                <a:solidFill>
                  <a:srgbClr val="EC000F"/>
                </a:solidFill>
                <a:ea typeface="Open Sans"/>
                <a:cs typeface="Open Sans"/>
              </a:rPr>
              <a:t>Plex</a:t>
            </a:r>
            <a:r>
              <a:rPr lang="en-AU" sz="2100" i="1" smtClean="0">
                <a:solidFill>
                  <a:srgbClr val="000000"/>
                </a:solidFill>
                <a:ea typeface="Open Sans"/>
                <a:cs typeface="Open Sans"/>
              </a:rPr>
              <a:t>Zyme</a:t>
            </a:r>
            <a:r>
              <a:rPr lang="en-AU" sz="2100" b="1" smtClean="0">
                <a:solidFill>
                  <a:srgbClr val="EC000F"/>
                </a:solidFill>
                <a:ea typeface="Open Sans"/>
                <a:cs typeface="Open Sans"/>
              </a:rPr>
              <a:t> detection</a:t>
            </a:r>
          </a:p>
        </p:txBody>
      </p:sp>
      <p:grpSp>
        <p:nvGrpSpPr>
          <p:cNvPr id="65" name="Group 64"/>
          <p:cNvGrpSpPr>
            <a:grpSpLocks/>
          </p:cNvGrpSpPr>
          <p:nvPr/>
        </p:nvGrpSpPr>
        <p:grpSpPr bwMode="auto">
          <a:xfrm>
            <a:off x="2949575" y="2633663"/>
            <a:ext cx="5399088" cy="1443037"/>
            <a:chOff x="2949369" y="3512589"/>
            <a:chExt cx="5398984" cy="1922679"/>
          </a:xfrm>
        </p:grpSpPr>
        <p:sp>
          <p:nvSpPr>
            <p:cNvPr id="66" name="Rectangle 65"/>
            <p:cNvSpPr>
              <a:spLocks noChangeArrowheads="1"/>
            </p:cNvSpPr>
            <p:nvPr/>
          </p:nvSpPr>
          <p:spPr bwMode="auto">
            <a:xfrm>
              <a:off x="3946300" y="4447489"/>
              <a:ext cx="1339824" cy="399764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>
                <a:defRPr/>
              </a:pPr>
              <a:r>
                <a:rPr lang="en-AU" sz="1600" b="1" i="1" kern="0" dirty="0" err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Plex</a:t>
              </a:r>
              <a:r>
                <a:rPr lang="en-AU" sz="1600" i="1" kern="0" dirty="0" err="1">
                  <a:solidFill>
                    <a:srgbClr val="003D46"/>
                  </a:solidFill>
                  <a:latin typeface="Arial" pitchFamily="34" charset="0"/>
                  <a:cs typeface="Arial" pitchFamily="34" charset="0"/>
                </a:rPr>
                <a:t>Zyme</a:t>
              </a:r>
              <a:endParaRPr lang="en-US" sz="1600" kern="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>
              <a:off x="3084050" y="3976494"/>
              <a:ext cx="1476000" cy="1332000"/>
            </a:xfrm>
            <a:custGeom>
              <a:avLst/>
              <a:gdLst>
                <a:gd name="connsiteX0" fmla="*/ 314693 w 1485358"/>
                <a:gd name="connsiteY0" fmla="*/ 0 h 1355178"/>
                <a:gd name="connsiteX1" fmla="*/ 1485358 w 1485358"/>
                <a:gd name="connsiteY1" fmla="*/ 0 h 1355178"/>
                <a:gd name="connsiteX2" fmla="*/ 1485358 w 1485358"/>
                <a:gd name="connsiteY2" fmla="*/ 148003 h 1355178"/>
                <a:gd name="connsiteX3" fmla="*/ 1482785 w 1485358"/>
                <a:gd name="connsiteY3" fmla="*/ 148003 h 1355178"/>
                <a:gd name="connsiteX4" fmla="*/ 1482826 w 1485358"/>
                <a:gd name="connsiteY4" fmla="*/ 148190 h 1355178"/>
                <a:gd name="connsiteX5" fmla="*/ 1114735 w 1485358"/>
                <a:gd name="connsiteY5" fmla="*/ 387517 h 1355178"/>
                <a:gd name="connsiteX6" fmla="*/ 1121671 w 1485358"/>
                <a:gd name="connsiteY6" fmla="*/ 977274 h 1355178"/>
                <a:gd name="connsiteX7" fmla="*/ 1385175 w 1485358"/>
                <a:gd name="connsiteY7" fmla="*/ 1178920 h 1355178"/>
                <a:gd name="connsiteX8" fmla="*/ 1485047 w 1485358"/>
                <a:gd name="connsiteY8" fmla="*/ 1206111 h 1355178"/>
                <a:gd name="connsiteX9" fmla="*/ 1485047 w 1485358"/>
                <a:gd name="connsiteY9" fmla="*/ 1355178 h 1355178"/>
                <a:gd name="connsiteX10" fmla="*/ 24668 w 1485358"/>
                <a:gd name="connsiteY10" fmla="*/ 1355178 h 1355178"/>
                <a:gd name="connsiteX11" fmla="*/ 0 w 1485358"/>
                <a:gd name="connsiteY11" fmla="*/ 1330510 h 1355178"/>
                <a:gd name="connsiteX12" fmla="*/ 0 w 1485358"/>
                <a:gd name="connsiteY12" fmla="*/ 1231843 h 1355178"/>
                <a:gd name="connsiteX13" fmla="*/ 24668 w 1485358"/>
                <a:gd name="connsiteY13" fmla="*/ 1207175 h 1355178"/>
                <a:gd name="connsiteX14" fmla="*/ 1114041 w 1485358"/>
                <a:gd name="connsiteY14" fmla="*/ 1205406 h 1355178"/>
                <a:gd name="connsiteX15" fmla="*/ 1045467 w 1485358"/>
                <a:gd name="connsiteY15" fmla="*/ 1140045 h 1355178"/>
                <a:gd name="connsiteX16" fmla="*/ 984605 w 1485358"/>
                <a:gd name="connsiteY16" fmla="*/ 1063637 h 1355178"/>
                <a:gd name="connsiteX17" fmla="*/ 975836 w 1485358"/>
                <a:gd name="connsiteY17" fmla="*/ 304146 h 1355178"/>
                <a:gd name="connsiteX18" fmla="*/ 1103706 w 1485358"/>
                <a:gd name="connsiteY18" fmla="*/ 157970 h 1355178"/>
                <a:gd name="connsiteX19" fmla="*/ 1116840 w 1485358"/>
                <a:gd name="connsiteY19" fmla="*/ 148003 h 1355178"/>
                <a:gd name="connsiteX20" fmla="*/ 314693 w 1485358"/>
                <a:gd name="connsiteY20" fmla="*/ 148003 h 1355178"/>
                <a:gd name="connsiteX21" fmla="*/ 290025 w 1485358"/>
                <a:gd name="connsiteY21" fmla="*/ 123335 h 1355178"/>
                <a:gd name="connsiteX22" fmla="*/ 290025 w 1485358"/>
                <a:gd name="connsiteY22" fmla="*/ 24668 h 1355178"/>
                <a:gd name="connsiteX23" fmla="*/ 314693 w 1485358"/>
                <a:gd name="connsiteY23" fmla="*/ 0 h 1355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85358" h="1355178">
                  <a:moveTo>
                    <a:pt x="314693" y="0"/>
                  </a:moveTo>
                  <a:lnTo>
                    <a:pt x="1485358" y="0"/>
                  </a:lnTo>
                  <a:lnTo>
                    <a:pt x="1485358" y="148003"/>
                  </a:lnTo>
                  <a:lnTo>
                    <a:pt x="1482785" y="148003"/>
                  </a:lnTo>
                  <a:cubicBezTo>
                    <a:pt x="1482799" y="148065"/>
                    <a:pt x="1482812" y="148128"/>
                    <a:pt x="1482826" y="148190"/>
                  </a:cubicBezTo>
                  <a:cubicBezTo>
                    <a:pt x="1332934" y="177172"/>
                    <a:pt x="1199145" y="262238"/>
                    <a:pt x="1114735" y="387517"/>
                  </a:cubicBezTo>
                  <a:cubicBezTo>
                    <a:pt x="993098" y="568051"/>
                    <a:pt x="995817" y="799334"/>
                    <a:pt x="1121671" y="977274"/>
                  </a:cubicBezTo>
                  <a:cubicBezTo>
                    <a:pt x="1187060" y="1069727"/>
                    <a:pt x="1279601" y="1139068"/>
                    <a:pt x="1385175" y="1178920"/>
                  </a:cubicBezTo>
                  <a:lnTo>
                    <a:pt x="1485047" y="1206111"/>
                  </a:lnTo>
                  <a:lnTo>
                    <a:pt x="1485047" y="1355178"/>
                  </a:lnTo>
                  <a:lnTo>
                    <a:pt x="24668" y="1355178"/>
                  </a:lnTo>
                  <a:cubicBezTo>
                    <a:pt x="11044" y="1355178"/>
                    <a:pt x="0" y="1344134"/>
                    <a:pt x="0" y="1330510"/>
                  </a:cubicBezTo>
                  <a:lnTo>
                    <a:pt x="0" y="1231843"/>
                  </a:lnTo>
                  <a:cubicBezTo>
                    <a:pt x="0" y="1218219"/>
                    <a:pt x="11044" y="1207175"/>
                    <a:pt x="24668" y="1207175"/>
                  </a:cubicBezTo>
                  <a:lnTo>
                    <a:pt x="1114041" y="1205406"/>
                  </a:lnTo>
                  <a:lnTo>
                    <a:pt x="1045467" y="1140045"/>
                  </a:lnTo>
                  <a:cubicBezTo>
                    <a:pt x="1023563" y="1116134"/>
                    <a:pt x="1003208" y="1090634"/>
                    <a:pt x="984605" y="1063637"/>
                  </a:cubicBezTo>
                  <a:cubicBezTo>
                    <a:pt x="826347" y="833974"/>
                    <a:pt x="822920" y="537093"/>
                    <a:pt x="975836" y="304146"/>
                  </a:cubicBezTo>
                  <a:cubicBezTo>
                    <a:pt x="1011834" y="249308"/>
                    <a:pt x="1054993" y="200323"/>
                    <a:pt x="1103706" y="157970"/>
                  </a:cubicBezTo>
                  <a:lnTo>
                    <a:pt x="1116840" y="148003"/>
                  </a:lnTo>
                  <a:lnTo>
                    <a:pt x="314693" y="148003"/>
                  </a:lnTo>
                  <a:cubicBezTo>
                    <a:pt x="301069" y="148003"/>
                    <a:pt x="290025" y="136959"/>
                    <a:pt x="290025" y="123335"/>
                  </a:cubicBezTo>
                  <a:lnTo>
                    <a:pt x="290025" y="24668"/>
                  </a:lnTo>
                  <a:cubicBezTo>
                    <a:pt x="290025" y="11044"/>
                    <a:pt x="301069" y="0"/>
                    <a:pt x="314693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perspectiveBelow" fov="7200000">
                <a:rot lat="0" lon="0" rev="0"/>
              </a:camera>
              <a:lightRig rig="threePt" dir="t">
                <a:rot lat="0" lon="0" rev="7800000"/>
              </a:lightRig>
            </a:scene3d>
            <a:sp3d extrusionH="381000" contourW="1270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Freeform 67"/>
            <p:cNvSpPr/>
            <p:nvPr/>
          </p:nvSpPr>
          <p:spPr>
            <a:xfrm flipH="1">
              <a:off x="4674623" y="3976494"/>
              <a:ext cx="1476000" cy="1332000"/>
            </a:xfrm>
            <a:custGeom>
              <a:avLst/>
              <a:gdLst>
                <a:gd name="connsiteX0" fmla="*/ 314693 w 1485358"/>
                <a:gd name="connsiteY0" fmla="*/ 0 h 1355178"/>
                <a:gd name="connsiteX1" fmla="*/ 1485358 w 1485358"/>
                <a:gd name="connsiteY1" fmla="*/ 0 h 1355178"/>
                <a:gd name="connsiteX2" fmla="*/ 1485358 w 1485358"/>
                <a:gd name="connsiteY2" fmla="*/ 148003 h 1355178"/>
                <a:gd name="connsiteX3" fmla="*/ 1482785 w 1485358"/>
                <a:gd name="connsiteY3" fmla="*/ 148003 h 1355178"/>
                <a:gd name="connsiteX4" fmla="*/ 1482826 w 1485358"/>
                <a:gd name="connsiteY4" fmla="*/ 148190 h 1355178"/>
                <a:gd name="connsiteX5" fmla="*/ 1114735 w 1485358"/>
                <a:gd name="connsiteY5" fmla="*/ 387517 h 1355178"/>
                <a:gd name="connsiteX6" fmla="*/ 1121671 w 1485358"/>
                <a:gd name="connsiteY6" fmla="*/ 977274 h 1355178"/>
                <a:gd name="connsiteX7" fmla="*/ 1385175 w 1485358"/>
                <a:gd name="connsiteY7" fmla="*/ 1178920 h 1355178"/>
                <a:gd name="connsiteX8" fmla="*/ 1485047 w 1485358"/>
                <a:gd name="connsiteY8" fmla="*/ 1206111 h 1355178"/>
                <a:gd name="connsiteX9" fmla="*/ 1485047 w 1485358"/>
                <a:gd name="connsiteY9" fmla="*/ 1355178 h 1355178"/>
                <a:gd name="connsiteX10" fmla="*/ 24668 w 1485358"/>
                <a:gd name="connsiteY10" fmla="*/ 1355178 h 1355178"/>
                <a:gd name="connsiteX11" fmla="*/ 0 w 1485358"/>
                <a:gd name="connsiteY11" fmla="*/ 1330510 h 1355178"/>
                <a:gd name="connsiteX12" fmla="*/ 0 w 1485358"/>
                <a:gd name="connsiteY12" fmla="*/ 1231843 h 1355178"/>
                <a:gd name="connsiteX13" fmla="*/ 24668 w 1485358"/>
                <a:gd name="connsiteY13" fmla="*/ 1207175 h 1355178"/>
                <a:gd name="connsiteX14" fmla="*/ 1114041 w 1485358"/>
                <a:gd name="connsiteY14" fmla="*/ 1205406 h 1355178"/>
                <a:gd name="connsiteX15" fmla="*/ 1045467 w 1485358"/>
                <a:gd name="connsiteY15" fmla="*/ 1140045 h 1355178"/>
                <a:gd name="connsiteX16" fmla="*/ 984605 w 1485358"/>
                <a:gd name="connsiteY16" fmla="*/ 1063637 h 1355178"/>
                <a:gd name="connsiteX17" fmla="*/ 975836 w 1485358"/>
                <a:gd name="connsiteY17" fmla="*/ 304146 h 1355178"/>
                <a:gd name="connsiteX18" fmla="*/ 1103706 w 1485358"/>
                <a:gd name="connsiteY18" fmla="*/ 157970 h 1355178"/>
                <a:gd name="connsiteX19" fmla="*/ 1116840 w 1485358"/>
                <a:gd name="connsiteY19" fmla="*/ 148003 h 1355178"/>
                <a:gd name="connsiteX20" fmla="*/ 314693 w 1485358"/>
                <a:gd name="connsiteY20" fmla="*/ 148003 h 1355178"/>
                <a:gd name="connsiteX21" fmla="*/ 290025 w 1485358"/>
                <a:gd name="connsiteY21" fmla="*/ 123335 h 1355178"/>
                <a:gd name="connsiteX22" fmla="*/ 290025 w 1485358"/>
                <a:gd name="connsiteY22" fmla="*/ 24668 h 1355178"/>
                <a:gd name="connsiteX23" fmla="*/ 314693 w 1485358"/>
                <a:gd name="connsiteY23" fmla="*/ 0 h 1355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85358" h="1355178">
                  <a:moveTo>
                    <a:pt x="314693" y="0"/>
                  </a:moveTo>
                  <a:lnTo>
                    <a:pt x="1485358" y="0"/>
                  </a:lnTo>
                  <a:lnTo>
                    <a:pt x="1485358" y="148003"/>
                  </a:lnTo>
                  <a:lnTo>
                    <a:pt x="1482785" y="148003"/>
                  </a:lnTo>
                  <a:cubicBezTo>
                    <a:pt x="1482799" y="148065"/>
                    <a:pt x="1482812" y="148128"/>
                    <a:pt x="1482826" y="148190"/>
                  </a:cubicBezTo>
                  <a:cubicBezTo>
                    <a:pt x="1332934" y="177172"/>
                    <a:pt x="1199145" y="262238"/>
                    <a:pt x="1114735" y="387517"/>
                  </a:cubicBezTo>
                  <a:cubicBezTo>
                    <a:pt x="993098" y="568051"/>
                    <a:pt x="995817" y="799334"/>
                    <a:pt x="1121671" y="977274"/>
                  </a:cubicBezTo>
                  <a:cubicBezTo>
                    <a:pt x="1187060" y="1069727"/>
                    <a:pt x="1279601" y="1139068"/>
                    <a:pt x="1385175" y="1178920"/>
                  </a:cubicBezTo>
                  <a:lnTo>
                    <a:pt x="1485047" y="1206111"/>
                  </a:lnTo>
                  <a:lnTo>
                    <a:pt x="1485047" y="1355178"/>
                  </a:lnTo>
                  <a:lnTo>
                    <a:pt x="24668" y="1355178"/>
                  </a:lnTo>
                  <a:cubicBezTo>
                    <a:pt x="11044" y="1355178"/>
                    <a:pt x="0" y="1344134"/>
                    <a:pt x="0" y="1330510"/>
                  </a:cubicBezTo>
                  <a:lnTo>
                    <a:pt x="0" y="1231843"/>
                  </a:lnTo>
                  <a:cubicBezTo>
                    <a:pt x="0" y="1218219"/>
                    <a:pt x="11044" y="1207175"/>
                    <a:pt x="24668" y="1207175"/>
                  </a:cubicBezTo>
                  <a:lnTo>
                    <a:pt x="1114041" y="1205406"/>
                  </a:lnTo>
                  <a:lnTo>
                    <a:pt x="1045467" y="1140045"/>
                  </a:lnTo>
                  <a:cubicBezTo>
                    <a:pt x="1023563" y="1116134"/>
                    <a:pt x="1003208" y="1090634"/>
                    <a:pt x="984605" y="1063637"/>
                  </a:cubicBezTo>
                  <a:cubicBezTo>
                    <a:pt x="826347" y="833974"/>
                    <a:pt x="822920" y="537093"/>
                    <a:pt x="975836" y="304146"/>
                  </a:cubicBezTo>
                  <a:cubicBezTo>
                    <a:pt x="1011834" y="249308"/>
                    <a:pt x="1054993" y="200323"/>
                    <a:pt x="1103706" y="157970"/>
                  </a:cubicBezTo>
                  <a:lnTo>
                    <a:pt x="1116840" y="148003"/>
                  </a:lnTo>
                  <a:lnTo>
                    <a:pt x="314693" y="148003"/>
                  </a:lnTo>
                  <a:cubicBezTo>
                    <a:pt x="301069" y="148003"/>
                    <a:pt x="290025" y="136959"/>
                    <a:pt x="290025" y="123335"/>
                  </a:cubicBezTo>
                  <a:lnTo>
                    <a:pt x="290025" y="24668"/>
                  </a:lnTo>
                  <a:cubicBezTo>
                    <a:pt x="290025" y="11044"/>
                    <a:pt x="301069" y="0"/>
                    <a:pt x="314693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12700" cap="flat" cmpd="sng" algn="ctr">
              <a:noFill/>
              <a:prstDash val="solid"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perspectiveBelow" fov="7200000">
                <a:rot lat="0" lon="0" rev="0"/>
              </a:camera>
              <a:lightRig rig="threePt" dir="t">
                <a:rot lat="0" lon="0" rev="7800000"/>
              </a:lightRig>
            </a:scene3d>
            <a:sp3d extrusionH="381000" contourW="12700" prstMaterial="plastic">
              <a:bevelT w="38100" h="25400"/>
              <a:contourClr>
                <a:schemeClr val="bg1"/>
              </a:contourClr>
            </a:sp3d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257"/>
            <p:cNvSpPr>
              <a:spLocks noChangeArrowheads="1"/>
            </p:cNvSpPr>
            <p:nvPr/>
          </p:nvSpPr>
          <p:spPr bwMode="auto">
            <a:xfrm>
              <a:off x="3379361" y="3711803"/>
              <a:ext cx="2484000" cy="162000"/>
            </a:xfrm>
            <a:prstGeom prst="round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scene3d>
              <a:camera prst="perspectiveBelow"/>
              <a:lightRig rig="threePt" dir="t"/>
            </a:scene3d>
            <a:sp3d prstMaterial="plastic"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383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9031" r="54861"/>
            <a:stretch>
              <a:fillRect/>
            </a:stretch>
          </p:blipFill>
          <p:spPr bwMode="auto">
            <a:xfrm>
              <a:off x="2949369" y="5036627"/>
              <a:ext cx="859607" cy="28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3837" name="Group 70"/>
            <p:cNvGrpSpPr>
              <a:grpSpLocks/>
            </p:cNvGrpSpPr>
            <p:nvPr/>
          </p:nvGrpSpPr>
          <p:grpSpPr bwMode="auto">
            <a:xfrm>
              <a:off x="3010274" y="5337274"/>
              <a:ext cx="1471522" cy="97994"/>
              <a:chOff x="3001155" y="2143037"/>
              <a:chExt cx="1471522" cy="97994"/>
            </a:xfrm>
          </p:grpSpPr>
          <p:sp>
            <p:nvSpPr>
              <p:cNvPr id="128" name="Rectangle 28"/>
              <p:cNvSpPr>
                <a:spLocks noChangeArrowheads="1"/>
              </p:cNvSpPr>
              <p:nvPr/>
            </p:nvSpPr>
            <p:spPr bwMode="auto">
              <a:xfrm>
                <a:off x="3600638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9" name="Rectangle 30"/>
              <p:cNvSpPr>
                <a:spLocks noChangeArrowheads="1"/>
              </p:cNvSpPr>
              <p:nvPr/>
            </p:nvSpPr>
            <p:spPr bwMode="auto">
              <a:xfrm>
                <a:off x="3000574" y="2143734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0" name="Rectangle 31"/>
              <p:cNvSpPr>
                <a:spLocks noChangeArrowheads="1"/>
              </p:cNvSpPr>
              <p:nvPr/>
            </p:nvSpPr>
            <p:spPr bwMode="auto">
              <a:xfrm>
                <a:off x="3121222" y="2143734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1" name="Rectangle 32"/>
              <p:cNvSpPr>
                <a:spLocks noChangeArrowheads="1"/>
              </p:cNvSpPr>
              <p:nvPr/>
            </p:nvSpPr>
            <p:spPr bwMode="auto">
              <a:xfrm>
                <a:off x="3243457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2" name="Rectangle 33"/>
              <p:cNvSpPr>
                <a:spLocks noChangeArrowheads="1"/>
              </p:cNvSpPr>
              <p:nvPr/>
            </p:nvSpPr>
            <p:spPr bwMode="auto">
              <a:xfrm>
                <a:off x="3481578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3" name="Rectangle 34"/>
              <p:cNvSpPr>
                <a:spLocks noChangeArrowheads="1"/>
              </p:cNvSpPr>
              <p:nvPr/>
            </p:nvSpPr>
            <p:spPr bwMode="auto">
              <a:xfrm>
                <a:off x="3721285" y="2143734"/>
                <a:ext cx="30162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4" name="Rectangle 35"/>
              <p:cNvSpPr>
                <a:spLocks noChangeArrowheads="1"/>
              </p:cNvSpPr>
              <p:nvPr/>
            </p:nvSpPr>
            <p:spPr bwMode="auto">
              <a:xfrm>
                <a:off x="3840346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5" name="Rectangle 36"/>
              <p:cNvSpPr>
                <a:spLocks noChangeArrowheads="1"/>
              </p:cNvSpPr>
              <p:nvPr/>
            </p:nvSpPr>
            <p:spPr bwMode="auto">
              <a:xfrm>
                <a:off x="3959406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6" name="Rectangle 37"/>
              <p:cNvSpPr>
                <a:spLocks noChangeArrowheads="1"/>
              </p:cNvSpPr>
              <p:nvPr/>
            </p:nvSpPr>
            <p:spPr bwMode="auto">
              <a:xfrm>
                <a:off x="3362517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7" name="Rectangle 28"/>
              <p:cNvSpPr>
                <a:spLocks noChangeArrowheads="1"/>
              </p:cNvSpPr>
              <p:nvPr/>
            </p:nvSpPr>
            <p:spPr bwMode="auto">
              <a:xfrm>
                <a:off x="4197526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8" name="Rectangle 29"/>
              <p:cNvSpPr>
                <a:spLocks noChangeArrowheads="1"/>
              </p:cNvSpPr>
              <p:nvPr/>
            </p:nvSpPr>
            <p:spPr bwMode="auto">
              <a:xfrm>
                <a:off x="4318174" y="2143734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39" name="Rectangle 30"/>
              <p:cNvSpPr>
                <a:spLocks noChangeArrowheads="1"/>
              </p:cNvSpPr>
              <p:nvPr/>
            </p:nvSpPr>
            <p:spPr bwMode="auto">
              <a:xfrm>
                <a:off x="4438822" y="2143734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40" name="Rectangle 37"/>
              <p:cNvSpPr>
                <a:spLocks noChangeArrowheads="1"/>
              </p:cNvSpPr>
              <p:nvPr/>
            </p:nvSpPr>
            <p:spPr bwMode="auto">
              <a:xfrm>
                <a:off x="4078467" y="2143734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33838" name="Group 71"/>
            <p:cNvGrpSpPr>
              <a:grpSpLocks/>
            </p:cNvGrpSpPr>
            <p:nvPr/>
          </p:nvGrpSpPr>
          <p:grpSpPr bwMode="auto">
            <a:xfrm>
              <a:off x="3409440" y="3859450"/>
              <a:ext cx="1712223" cy="97994"/>
              <a:chOff x="3001155" y="2149811"/>
              <a:chExt cx="1712223" cy="97994"/>
            </a:xfrm>
          </p:grpSpPr>
          <p:sp>
            <p:nvSpPr>
              <p:cNvPr id="114" name="Rectangle 28"/>
              <p:cNvSpPr>
                <a:spLocks noChangeArrowheads="1"/>
              </p:cNvSpPr>
              <p:nvPr/>
            </p:nvSpPr>
            <p:spPr bwMode="auto">
              <a:xfrm>
                <a:off x="3601513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5" name="Rectangle 30"/>
              <p:cNvSpPr>
                <a:spLocks noChangeArrowheads="1"/>
              </p:cNvSpPr>
              <p:nvPr/>
            </p:nvSpPr>
            <p:spPr bwMode="auto">
              <a:xfrm>
                <a:off x="3001450" y="2149836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6" name="Rectangle 31"/>
              <p:cNvSpPr>
                <a:spLocks noChangeArrowheads="1"/>
              </p:cNvSpPr>
              <p:nvPr/>
            </p:nvSpPr>
            <p:spPr bwMode="auto">
              <a:xfrm>
                <a:off x="3122098" y="2149836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7" name="Rectangle 32"/>
              <p:cNvSpPr>
                <a:spLocks noChangeArrowheads="1"/>
              </p:cNvSpPr>
              <p:nvPr/>
            </p:nvSpPr>
            <p:spPr bwMode="auto">
              <a:xfrm>
                <a:off x="3244333" y="2149836"/>
                <a:ext cx="30161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8" name="Rectangle 33"/>
              <p:cNvSpPr>
                <a:spLocks noChangeArrowheads="1"/>
              </p:cNvSpPr>
              <p:nvPr/>
            </p:nvSpPr>
            <p:spPr bwMode="auto">
              <a:xfrm>
                <a:off x="3482454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9" name="Rectangle 34"/>
              <p:cNvSpPr>
                <a:spLocks noChangeArrowheads="1"/>
              </p:cNvSpPr>
              <p:nvPr/>
            </p:nvSpPr>
            <p:spPr bwMode="auto">
              <a:xfrm>
                <a:off x="3720574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0" name="Rectangle 35"/>
              <p:cNvSpPr>
                <a:spLocks noChangeArrowheads="1"/>
              </p:cNvSpPr>
              <p:nvPr/>
            </p:nvSpPr>
            <p:spPr bwMode="auto">
              <a:xfrm>
                <a:off x="3841222" y="2149836"/>
                <a:ext cx="30161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1" name="Rectangle 36"/>
              <p:cNvSpPr>
                <a:spLocks noChangeArrowheads="1"/>
              </p:cNvSpPr>
              <p:nvPr/>
            </p:nvSpPr>
            <p:spPr bwMode="auto">
              <a:xfrm>
                <a:off x="3960282" y="2149836"/>
                <a:ext cx="30162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2" name="Rectangle 37"/>
              <p:cNvSpPr>
                <a:spLocks noChangeArrowheads="1"/>
              </p:cNvSpPr>
              <p:nvPr/>
            </p:nvSpPr>
            <p:spPr bwMode="auto">
              <a:xfrm>
                <a:off x="3363393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auto">
              <a:xfrm>
                <a:off x="4317463" y="2149836"/>
                <a:ext cx="33336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auto">
              <a:xfrm>
                <a:off x="4439697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auto">
              <a:xfrm>
                <a:off x="4560345" y="2149836"/>
                <a:ext cx="33337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auto">
              <a:xfrm>
                <a:off x="4680993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7" name="Rectangle 37"/>
              <p:cNvSpPr>
                <a:spLocks noChangeArrowheads="1"/>
              </p:cNvSpPr>
              <p:nvPr/>
            </p:nvSpPr>
            <p:spPr bwMode="auto">
              <a:xfrm>
                <a:off x="4079342" y="2149836"/>
                <a:ext cx="31749" cy="97297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73" name="Rectangle 72"/>
            <p:cNvSpPr/>
            <p:nvPr/>
          </p:nvSpPr>
          <p:spPr>
            <a:xfrm>
              <a:off x="4214480" y="5167773"/>
              <a:ext cx="180000" cy="137545"/>
            </a:xfrm>
            <a:prstGeom prst="rect">
              <a:avLst/>
            </a:prstGeom>
            <a:solidFill>
              <a:srgbClr val="D27D00">
                <a:alpha val="83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3999185" y="5167773"/>
              <a:ext cx="144000" cy="137545"/>
            </a:xfrm>
            <a:prstGeom prst="rect">
              <a:avLst/>
            </a:prstGeom>
            <a:solidFill>
              <a:srgbClr val="4F81BD">
                <a:lumMod val="75000"/>
              </a:srgbClr>
            </a:solidFill>
            <a:ln w="127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5" name="Rectangle 28"/>
            <p:cNvSpPr>
              <a:spLocks noChangeArrowheads="1"/>
            </p:cNvSpPr>
            <p:nvPr/>
          </p:nvSpPr>
          <p:spPr bwMode="auto">
            <a:xfrm>
              <a:off x="5805227" y="3853129"/>
              <a:ext cx="31749" cy="97297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6" name="Rectangle 30"/>
            <p:cNvSpPr>
              <a:spLocks noChangeArrowheads="1"/>
            </p:cNvSpPr>
            <p:nvPr/>
          </p:nvSpPr>
          <p:spPr bwMode="auto">
            <a:xfrm>
              <a:off x="5205164" y="3853129"/>
              <a:ext cx="33336" cy="97297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7" name="Rectangle 31"/>
            <p:cNvSpPr>
              <a:spLocks noChangeArrowheads="1"/>
            </p:cNvSpPr>
            <p:nvPr/>
          </p:nvSpPr>
          <p:spPr bwMode="auto">
            <a:xfrm>
              <a:off x="5325811" y="3853129"/>
              <a:ext cx="33336" cy="97297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8" name="Rectangle 32"/>
            <p:cNvSpPr>
              <a:spLocks noChangeArrowheads="1"/>
            </p:cNvSpPr>
            <p:nvPr/>
          </p:nvSpPr>
          <p:spPr bwMode="auto">
            <a:xfrm>
              <a:off x="5448046" y="3853129"/>
              <a:ext cx="31749" cy="97297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9" name="Rectangle 33"/>
            <p:cNvSpPr>
              <a:spLocks noChangeArrowheads="1"/>
            </p:cNvSpPr>
            <p:nvPr/>
          </p:nvSpPr>
          <p:spPr bwMode="auto">
            <a:xfrm>
              <a:off x="5686166" y="3853129"/>
              <a:ext cx="31749" cy="97297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0" name="Rectangle 37"/>
            <p:cNvSpPr>
              <a:spLocks noChangeArrowheads="1"/>
            </p:cNvSpPr>
            <p:nvPr/>
          </p:nvSpPr>
          <p:spPr bwMode="auto">
            <a:xfrm>
              <a:off x="5567107" y="3853129"/>
              <a:ext cx="31749" cy="97297"/>
            </a:xfrm>
            <a:prstGeom prst="rect">
              <a:avLst/>
            </a:prstGeom>
            <a:gradFill rotWithShape="1">
              <a:gsLst>
                <a:gs pos="25000">
                  <a:srgbClr val="00394A"/>
                </a:gs>
                <a:gs pos="50000">
                  <a:srgbClr val="949597"/>
                </a:gs>
                <a:gs pos="75000">
                  <a:srgbClr val="00394A"/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33851" name="Group 80"/>
            <p:cNvGrpSpPr>
              <a:grpSpLocks/>
            </p:cNvGrpSpPr>
            <p:nvPr/>
          </p:nvGrpSpPr>
          <p:grpSpPr bwMode="auto">
            <a:xfrm>
              <a:off x="4692078" y="5336617"/>
              <a:ext cx="1471522" cy="97994"/>
              <a:chOff x="3001155" y="2143037"/>
              <a:chExt cx="1471522" cy="97994"/>
            </a:xfrm>
          </p:grpSpPr>
          <p:sp>
            <p:nvSpPr>
              <p:cNvPr id="101" name="Rectangle 28"/>
              <p:cNvSpPr>
                <a:spLocks noChangeArrowheads="1"/>
              </p:cNvSpPr>
              <p:nvPr/>
            </p:nvSpPr>
            <p:spPr bwMode="auto">
              <a:xfrm>
                <a:off x="3601551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2" name="Rectangle 30"/>
              <p:cNvSpPr>
                <a:spLocks noChangeArrowheads="1"/>
              </p:cNvSpPr>
              <p:nvPr/>
            </p:nvSpPr>
            <p:spPr bwMode="auto">
              <a:xfrm>
                <a:off x="3001487" y="2142276"/>
                <a:ext cx="33337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3" name="Rectangle 31"/>
              <p:cNvSpPr>
                <a:spLocks noChangeArrowheads="1"/>
              </p:cNvSpPr>
              <p:nvPr/>
            </p:nvSpPr>
            <p:spPr bwMode="auto">
              <a:xfrm>
                <a:off x="3122135" y="2142276"/>
                <a:ext cx="33337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4" name="Rectangle 32"/>
              <p:cNvSpPr>
                <a:spLocks noChangeArrowheads="1"/>
              </p:cNvSpPr>
              <p:nvPr/>
            </p:nvSpPr>
            <p:spPr bwMode="auto">
              <a:xfrm>
                <a:off x="3244370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5" name="Rectangle 33"/>
              <p:cNvSpPr>
                <a:spLocks noChangeArrowheads="1"/>
              </p:cNvSpPr>
              <p:nvPr/>
            </p:nvSpPr>
            <p:spPr bwMode="auto">
              <a:xfrm>
                <a:off x="3482491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6" name="Rectangle 34"/>
              <p:cNvSpPr>
                <a:spLocks noChangeArrowheads="1"/>
              </p:cNvSpPr>
              <p:nvPr/>
            </p:nvSpPr>
            <p:spPr bwMode="auto">
              <a:xfrm>
                <a:off x="3722198" y="2142276"/>
                <a:ext cx="30162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7" name="Rectangle 35"/>
              <p:cNvSpPr>
                <a:spLocks noChangeArrowheads="1"/>
              </p:cNvSpPr>
              <p:nvPr/>
            </p:nvSpPr>
            <p:spPr bwMode="auto">
              <a:xfrm>
                <a:off x="3841259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8" name="Rectangle 36"/>
              <p:cNvSpPr>
                <a:spLocks noChangeArrowheads="1"/>
              </p:cNvSpPr>
              <p:nvPr/>
            </p:nvSpPr>
            <p:spPr bwMode="auto">
              <a:xfrm>
                <a:off x="3960319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09" name="Rectangle 37"/>
              <p:cNvSpPr>
                <a:spLocks noChangeArrowheads="1"/>
              </p:cNvSpPr>
              <p:nvPr/>
            </p:nvSpPr>
            <p:spPr bwMode="auto">
              <a:xfrm>
                <a:off x="3363430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/>
            </p:nvSpPr>
            <p:spPr bwMode="auto">
              <a:xfrm>
                <a:off x="4198439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/>
            </p:nvSpPr>
            <p:spPr bwMode="auto">
              <a:xfrm>
                <a:off x="4319087" y="2142276"/>
                <a:ext cx="33337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/>
            </p:nvSpPr>
            <p:spPr bwMode="auto">
              <a:xfrm>
                <a:off x="4439735" y="2142276"/>
                <a:ext cx="33337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3" name="Rectangle 37"/>
              <p:cNvSpPr>
                <a:spLocks noChangeArrowheads="1"/>
              </p:cNvSpPr>
              <p:nvPr/>
            </p:nvSpPr>
            <p:spPr bwMode="auto">
              <a:xfrm>
                <a:off x="4079379" y="2142276"/>
                <a:ext cx="31749" cy="99412"/>
              </a:xfrm>
              <a:prstGeom prst="rect">
                <a:avLst/>
              </a:prstGeom>
              <a:gradFill rotWithShape="1">
                <a:gsLst>
                  <a:gs pos="25000">
                    <a:srgbClr val="00394A"/>
                  </a:gs>
                  <a:gs pos="50000">
                    <a:srgbClr val="949597"/>
                  </a:gs>
                  <a:gs pos="75000">
                    <a:srgbClr val="00394A"/>
                  </a:gs>
                </a:gsLst>
                <a:lin ang="5400000" scaled="0"/>
              </a:gra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AU" kern="0" dirty="0">
                  <a:solidFill>
                    <a:prstClr val="white"/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sp>
          <p:nvSpPr>
            <p:cNvPr id="82" name="TextBox 83"/>
            <p:cNvSpPr txBox="1">
              <a:spLocks noChangeArrowheads="1"/>
            </p:cNvSpPr>
            <p:nvPr/>
          </p:nvSpPr>
          <p:spPr bwMode="auto">
            <a:xfrm>
              <a:off x="5910000" y="4386149"/>
              <a:ext cx="2438353" cy="8608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AU" altLang="en-US" i="1" kern="0" dirty="0" smtClean="0">
                  <a:solidFill>
                    <a:srgbClr val="1F497D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utation specific       </a:t>
              </a:r>
              <a:r>
                <a:rPr lang="en-AU" altLang="en-US" b="1" i="1" kern="0" dirty="0" smtClean="0">
                  <a:solidFill>
                    <a:srgbClr val="EC1C29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lex</a:t>
              </a:r>
              <a:r>
                <a:rPr lang="en-AU" altLang="en-US" i="1" kern="0" dirty="0" smtClean="0">
                  <a:solidFill>
                    <a:srgbClr val="1F497D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Zyme detection</a:t>
              </a:r>
              <a:endParaRPr lang="en-AU" altLang="en-US" kern="0" dirty="0">
                <a:solidFill>
                  <a:srgbClr val="0070C0"/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33853" name="Group 82"/>
            <p:cNvGrpSpPr>
              <a:grpSpLocks/>
            </p:cNvGrpSpPr>
            <p:nvPr/>
          </p:nvGrpSpPr>
          <p:grpSpPr bwMode="auto">
            <a:xfrm>
              <a:off x="5608931" y="3512589"/>
              <a:ext cx="298528" cy="492443"/>
              <a:chOff x="5599406" y="3426864"/>
              <a:chExt cx="298528" cy="492443"/>
            </a:xfrm>
          </p:grpSpPr>
          <p:grpSp>
            <p:nvGrpSpPr>
              <p:cNvPr id="93" name="Group 92"/>
              <p:cNvGrpSpPr/>
              <p:nvPr/>
            </p:nvGrpSpPr>
            <p:grpSpPr>
              <a:xfrm>
                <a:off x="5599406" y="3516415"/>
                <a:ext cx="288000" cy="252000"/>
                <a:chOff x="3297503" y="1960054"/>
                <a:chExt cx="896104" cy="869855"/>
              </a:xfrm>
              <a:effectLst>
                <a:outerShdw blurRad="50800" sx="101000" sy="101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5" name="Oval 94"/>
                <p:cNvSpPr/>
                <p:nvPr/>
              </p:nvSpPr>
              <p:spPr>
                <a:xfrm>
                  <a:off x="3297503" y="1960054"/>
                  <a:ext cx="885022" cy="869855"/>
                </a:xfrm>
                <a:prstGeom prst="ellipse">
                  <a:avLst/>
                </a:prstGeom>
                <a:gradFill flip="none" rotWithShape="1">
                  <a:gsLst>
                    <a:gs pos="77000">
                      <a:schemeClr val="accent3"/>
                    </a:gs>
                    <a:gs pos="0">
                      <a:schemeClr val="accent3">
                        <a:lumMod val="60000"/>
                        <a:lumOff val="40000"/>
                      </a:schemeClr>
                    </a:gs>
                  </a:gsLst>
                  <a:lin ang="13500000" scaled="1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6" name="Rectangle 6"/>
                <p:cNvSpPr/>
                <p:nvPr/>
              </p:nvSpPr>
              <p:spPr>
                <a:xfrm>
                  <a:off x="3780801" y="1988495"/>
                  <a:ext cx="235623" cy="15291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681" h="328612">
                      <a:moveTo>
                        <a:pt x="0" y="0"/>
                      </a:moveTo>
                      <a:cubicBezTo>
                        <a:pt x="108744" y="9525"/>
                        <a:pt x="369886" y="64294"/>
                        <a:pt x="497681" y="228600"/>
                      </a:cubicBezTo>
                      <a:lnTo>
                        <a:pt x="381001" y="328612"/>
                      </a:lnTo>
                      <a:cubicBezTo>
                        <a:pt x="350838" y="287336"/>
                        <a:pt x="168276" y="172244"/>
                        <a:pt x="35719" y="1381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7" name="Rectangle 6"/>
                <p:cNvSpPr/>
                <p:nvPr/>
              </p:nvSpPr>
              <p:spPr>
                <a:xfrm rot="1800000">
                  <a:off x="3947274" y="2149700"/>
                  <a:ext cx="246333" cy="19595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0302" h="421115">
                      <a:moveTo>
                        <a:pt x="49005" y="0"/>
                      </a:moveTo>
                      <a:cubicBezTo>
                        <a:pt x="162745" y="3891"/>
                        <a:pt x="407262" y="172741"/>
                        <a:pt x="520302" y="340068"/>
                      </a:cubicBezTo>
                      <a:cubicBezTo>
                        <a:pt x="474101" y="346461"/>
                        <a:pt x="438701" y="390612"/>
                        <a:pt x="417419" y="421115"/>
                      </a:cubicBezTo>
                      <a:cubicBezTo>
                        <a:pt x="363125" y="333280"/>
                        <a:pt x="138104" y="168461"/>
                        <a:pt x="0" y="148532"/>
                      </a:cubicBezTo>
                      <a:lnTo>
                        <a:pt x="49005" y="0"/>
                      </a:ln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8" name="Rectangle 6"/>
                <p:cNvSpPr/>
                <p:nvPr/>
              </p:nvSpPr>
              <p:spPr>
                <a:xfrm>
                  <a:off x="3753290" y="2070492"/>
                  <a:ext cx="192782" cy="14404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61962"/>
                    <a:gd name="connsiteY0" fmla="*/ 0 h 328612"/>
                    <a:gd name="connsiteX1" fmla="*/ 461962 w 461962"/>
                    <a:gd name="connsiteY1" fmla="*/ 197644 h 328612"/>
                    <a:gd name="connsiteX2" fmla="*/ 381001 w 461962"/>
                    <a:gd name="connsiteY2" fmla="*/ 328612 h 328612"/>
                    <a:gd name="connsiteX3" fmla="*/ 35719 w 461962"/>
                    <a:gd name="connsiteY3" fmla="*/ 138113 h 328612"/>
                    <a:gd name="connsiteX4" fmla="*/ 0 w 461962"/>
                    <a:gd name="connsiteY4" fmla="*/ 0 h 328612"/>
                    <a:gd name="connsiteX0" fmla="*/ 0 w 461962"/>
                    <a:gd name="connsiteY0" fmla="*/ 0 h 319087"/>
                    <a:gd name="connsiteX1" fmla="*/ 461962 w 461962"/>
                    <a:gd name="connsiteY1" fmla="*/ 197644 h 319087"/>
                    <a:gd name="connsiteX2" fmla="*/ 381001 w 461962"/>
                    <a:gd name="connsiteY2" fmla="*/ 319087 h 319087"/>
                    <a:gd name="connsiteX3" fmla="*/ 35719 w 461962"/>
                    <a:gd name="connsiteY3" fmla="*/ 138113 h 319087"/>
                    <a:gd name="connsiteX4" fmla="*/ 0 w 461962"/>
                    <a:gd name="connsiteY4" fmla="*/ 0 h 319087"/>
                    <a:gd name="connsiteX0" fmla="*/ 100012 w 426243"/>
                    <a:gd name="connsiteY0" fmla="*/ 0 h 295274"/>
                    <a:gd name="connsiteX1" fmla="*/ 426243 w 426243"/>
                    <a:gd name="connsiteY1" fmla="*/ 173831 h 295274"/>
                    <a:gd name="connsiteX2" fmla="*/ 345282 w 426243"/>
                    <a:gd name="connsiteY2" fmla="*/ 295274 h 295274"/>
                    <a:gd name="connsiteX3" fmla="*/ 0 w 426243"/>
                    <a:gd name="connsiteY3" fmla="*/ 114300 h 295274"/>
                    <a:gd name="connsiteX4" fmla="*/ 100012 w 426243"/>
                    <a:gd name="connsiteY4" fmla="*/ 0 h 295274"/>
                    <a:gd name="connsiteX0" fmla="*/ 71437 w 397668"/>
                    <a:gd name="connsiteY0" fmla="*/ 0 h 295274"/>
                    <a:gd name="connsiteX1" fmla="*/ 397668 w 397668"/>
                    <a:gd name="connsiteY1" fmla="*/ 173831 h 295274"/>
                    <a:gd name="connsiteX2" fmla="*/ 316707 w 397668"/>
                    <a:gd name="connsiteY2" fmla="*/ 295274 h 295274"/>
                    <a:gd name="connsiteX3" fmla="*/ 0 w 397668"/>
                    <a:gd name="connsiteY3" fmla="*/ 107156 h 295274"/>
                    <a:gd name="connsiteX4" fmla="*/ 71437 w 397668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7655"/>
                    <a:gd name="connsiteX1" fmla="*/ 407193 w 407193"/>
                    <a:gd name="connsiteY1" fmla="*/ 173831 h 297655"/>
                    <a:gd name="connsiteX2" fmla="*/ 323851 w 407193"/>
                    <a:gd name="connsiteY2" fmla="*/ 297655 h 297655"/>
                    <a:gd name="connsiteX3" fmla="*/ 0 w 407193"/>
                    <a:gd name="connsiteY3" fmla="*/ 119062 h 297655"/>
                    <a:gd name="connsiteX4" fmla="*/ 80962 w 407193"/>
                    <a:gd name="connsiteY4" fmla="*/ 0 h 297655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193" h="309561">
                      <a:moveTo>
                        <a:pt x="83344" y="0"/>
                      </a:moveTo>
                      <a:cubicBezTo>
                        <a:pt x="220663" y="47625"/>
                        <a:pt x="286541" y="76199"/>
                        <a:pt x="407193" y="185737"/>
                      </a:cubicBezTo>
                      <a:lnTo>
                        <a:pt x="323851" y="309561"/>
                      </a:lnTo>
                      <a:cubicBezTo>
                        <a:pt x="288926" y="246854"/>
                        <a:pt x="127795" y="148430"/>
                        <a:pt x="0" y="130968"/>
                      </a:cubicBezTo>
                      <a:cubicBezTo>
                        <a:pt x="50799" y="103187"/>
                        <a:pt x="77789" y="53974"/>
                        <a:pt x="83344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9" name="Rectangle 6"/>
                <p:cNvSpPr/>
                <p:nvPr/>
              </p:nvSpPr>
              <p:spPr>
                <a:xfrm rot="1800000">
                  <a:off x="3887126" y="2212407"/>
                  <a:ext cx="190770" cy="25373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  <a:gd name="connsiteX0" fmla="*/ 49005 w 520302"/>
                    <a:gd name="connsiteY0" fmla="*/ 0 h 548528"/>
                    <a:gd name="connsiteX1" fmla="*/ 520302 w 520302"/>
                    <a:gd name="connsiteY1" fmla="*/ 340068 h 548528"/>
                    <a:gd name="connsiteX2" fmla="*/ 391995 w 520302"/>
                    <a:gd name="connsiteY2" fmla="*/ 548528 h 548528"/>
                    <a:gd name="connsiteX3" fmla="*/ 0 w 520302"/>
                    <a:gd name="connsiteY3" fmla="*/ 148532 h 548528"/>
                    <a:gd name="connsiteX4" fmla="*/ 49005 w 520302"/>
                    <a:gd name="connsiteY4" fmla="*/ 0 h 548528"/>
                    <a:gd name="connsiteX0" fmla="*/ 49005 w 444358"/>
                    <a:gd name="connsiteY0" fmla="*/ 0 h 548528"/>
                    <a:gd name="connsiteX1" fmla="*/ 444358 w 444358"/>
                    <a:gd name="connsiteY1" fmla="*/ 265680 h 548528"/>
                    <a:gd name="connsiteX2" fmla="*/ 391995 w 444358"/>
                    <a:gd name="connsiteY2" fmla="*/ 548528 h 548528"/>
                    <a:gd name="connsiteX3" fmla="*/ 0 w 444358"/>
                    <a:gd name="connsiteY3" fmla="*/ 148532 h 548528"/>
                    <a:gd name="connsiteX4" fmla="*/ 49005 w 444358"/>
                    <a:gd name="connsiteY4" fmla="*/ 0 h 548528"/>
                    <a:gd name="connsiteX0" fmla="*/ 49005 w 448802"/>
                    <a:gd name="connsiteY0" fmla="*/ 0 h 548528"/>
                    <a:gd name="connsiteX1" fmla="*/ 448802 w 448802"/>
                    <a:gd name="connsiteY1" fmla="*/ 268615 h 548528"/>
                    <a:gd name="connsiteX2" fmla="*/ 391995 w 448802"/>
                    <a:gd name="connsiteY2" fmla="*/ 548528 h 548528"/>
                    <a:gd name="connsiteX3" fmla="*/ 0 w 448802"/>
                    <a:gd name="connsiteY3" fmla="*/ 148532 h 548528"/>
                    <a:gd name="connsiteX4" fmla="*/ 49005 w 44880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942" h="545275">
                      <a:moveTo>
                        <a:pt x="2272" y="0"/>
                      </a:moveTo>
                      <a:cubicBezTo>
                        <a:pt x="137358" y="21813"/>
                        <a:pt x="292369" y="121357"/>
                        <a:pt x="402942" y="265362"/>
                      </a:cubicBezTo>
                      <a:cubicBezTo>
                        <a:pt x="366267" y="288253"/>
                        <a:pt x="324638" y="459732"/>
                        <a:pt x="346135" y="545275"/>
                      </a:cubicBezTo>
                      <a:cubicBezTo>
                        <a:pt x="317459" y="439900"/>
                        <a:pt x="136363" y="189232"/>
                        <a:pt x="0" y="162797"/>
                      </a:cubicBezTo>
                      <a:cubicBezTo>
                        <a:pt x="1048" y="107447"/>
                        <a:pt x="1224" y="55350"/>
                        <a:pt x="2272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Rectangle 7"/>
                <p:cNvSpPr/>
                <p:nvPr/>
              </p:nvSpPr>
              <p:spPr>
                <a:xfrm>
                  <a:off x="3327366" y="2502665"/>
                  <a:ext cx="426376" cy="304302"/>
                </a:xfrm>
                <a:custGeom>
                  <a:avLst/>
                  <a:gdLst>
                    <a:gd name="connsiteX0" fmla="*/ 0 w 45719"/>
                    <a:gd name="connsiteY0" fmla="*/ 0 h 296052"/>
                    <a:gd name="connsiteX1" fmla="*/ 45719 w 45719"/>
                    <a:gd name="connsiteY1" fmla="*/ 0 h 296052"/>
                    <a:gd name="connsiteX2" fmla="*/ 45719 w 45719"/>
                    <a:gd name="connsiteY2" fmla="*/ 296052 h 296052"/>
                    <a:gd name="connsiteX3" fmla="*/ 0 w 45719"/>
                    <a:gd name="connsiteY3" fmla="*/ 296052 h 296052"/>
                    <a:gd name="connsiteX4" fmla="*/ 0 w 45719"/>
                    <a:gd name="connsiteY4" fmla="*/ 0 h 296052"/>
                    <a:gd name="connsiteX0" fmla="*/ 0 w 355282"/>
                    <a:gd name="connsiteY0" fmla="*/ 0 h 343677"/>
                    <a:gd name="connsiteX1" fmla="*/ 355282 w 355282"/>
                    <a:gd name="connsiteY1" fmla="*/ 47625 h 343677"/>
                    <a:gd name="connsiteX2" fmla="*/ 355282 w 355282"/>
                    <a:gd name="connsiteY2" fmla="*/ 343677 h 343677"/>
                    <a:gd name="connsiteX3" fmla="*/ 309563 w 355282"/>
                    <a:gd name="connsiteY3" fmla="*/ 343677 h 343677"/>
                    <a:gd name="connsiteX4" fmla="*/ 0 w 355282"/>
                    <a:gd name="connsiteY4" fmla="*/ 0 h 343677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309563 w 905350"/>
                    <a:gd name="connsiteY3" fmla="*/ 343677 h 665146"/>
                    <a:gd name="connsiteX4" fmla="*/ 0 w 905350"/>
                    <a:gd name="connsiteY4" fmla="*/ 0 h 665146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0 w 905350"/>
                    <a:gd name="connsiteY3" fmla="*/ 0 h 665146"/>
                    <a:gd name="connsiteX0" fmla="*/ 0 w 905350"/>
                    <a:gd name="connsiteY0" fmla="*/ 0 h 665286"/>
                    <a:gd name="connsiteX1" fmla="*/ 355282 w 905350"/>
                    <a:gd name="connsiteY1" fmla="*/ 47625 h 665286"/>
                    <a:gd name="connsiteX2" fmla="*/ 905350 w 905350"/>
                    <a:gd name="connsiteY2" fmla="*/ 665146 h 665286"/>
                    <a:gd name="connsiteX3" fmla="*/ 0 w 905350"/>
                    <a:gd name="connsiteY3" fmla="*/ 0 h 665286"/>
                    <a:gd name="connsiteX0" fmla="*/ 0 w 902969"/>
                    <a:gd name="connsiteY0" fmla="*/ 0 h 658144"/>
                    <a:gd name="connsiteX1" fmla="*/ 355282 w 902969"/>
                    <a:gd name="connsiteY1" fmla="*/ 47625 h 658144"/>
                    <a:gd name="connsiteX2" fmla="*/ 902969 w 902969"/>
                    <a:gd name="connsiteY2" fmla="*/ 658002 h 658144"/>
                    <a:gd name="connsiteX3" fmla="*/ 0 w 902969"/>
                    <a:gd name="connsiteY3" fmla="*/ 0 h 658144"/>
                    <a:gd name="connsiteX0" fmla="*/ 0 w 895825"/>
                    <a:gd name="connsiteY0" fmla="*/ 0 h 660525"/>
                    <a:gd name="connsiteX1" fmla="*/ 348138 w 895825"/>
                    <a:gd name="connsiteY1" fmla="*/ 50007 h 660525"/>
                    <a:gd name="connsiteX2" fmla="*/ 895825 w 895825"/>
                    <a:gd name="connsiteY2" fmla="*/ 660384 h 660525"/>
                    <a:gd name="connsiteX3" fmla="*/ 0 w 895825"/>
                    <a:gd name="connsiteY3" fmla="*/ 0 h 660525"/>
                    <a:gd name="connsiteX0" fmla="*/ 0 w 895825"/>
                    <a:gd name="connsiteY0" fmla="*/ 0 h 660561"/>
                    <a:gd name="connsiteX1" fmla="*/ 348138 w 895825"/>
                    <a:gd name="connsiteY1" fmla="*/ 50007 h 660561"/>
                    <a:gd name="connsiteX2" fmla="*/ 895825 w 895825"/>
                    <a:gd name="connsiteY2" fmla="*/ 660384 h 660561"/>
                    <a:gd name="connsiteX3" fmla="*/ 0 w 895825"/>
                    <a:gd name="connsiteY3" fmla="*/ 0 h 660561"/>
                    <a:gd name="connsiteX0" fmla="*/ 0 w 895825"/>
                    <a:gd name="connsiteY0" fmla="*/ 0 h 660426"/>
                    <a:gd name="connsiteX1" fmla="*/ 348138 w 895825"/>
                    <a:gd name="connsiteY1" fmla="*/ 50007 h 660426"/>
                    <a:gd name="connsiteX2" fmla="*/ 895825 w 895825"/>
                    <a:gd name="connsiteY2" fmla="*/ 660384 h 660426"/>
                    <a:gd name="connsiteX3" fmla="*/ 0 w 895825"/>
                    <a:gd name="connsiteY3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900587"/>
                    <a:gd name="connsiteY0" fmla="*/ 0 h 653284"/>
                    <a:gd name="connsiteX1" fmla="*/ 900587 w 900587"/>
                    <a:gd name="connsiteY1" fmla="*/ 653241 h 653284"/>
                    <a:gd name="connsiteX2" fmla="*/ 0 w 900587"/>
                    <a:gd name="connsiteY2" fmla="*/ 0 h 653284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0587" h="653951">
                      <a:moveTo>
                        <a:pt x="0" y="0"/>
                      </a:moveTo>
                      <a:cubicBezTo>
                        <a:pt x="115251" y="279659"/>
                        <a:pt x="432910" y="642663"/>
                        <a:pt x="900587" y="653241"/>
                      </a:cubicBezTo>
                      <a:cubicBezTo>
                        <a:pt x="420210" y="672031"/>
                        <a:pt x="80327" y="314584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9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94" name="Rectangle 163"/>
              <p:cNvSpPr>
                <a:spLocks noChangeArrowheads="1"/>
              </p:cNvSpPr>
              <p:nvPr/>
            </p:nvSpPr>
            <p:spPr bwMode="auto">
              <a:xfrm>
                <a:off x="5609968" y="3426864"/>
                <a:ext cx="287332" cy="492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 defTabSz="457200" eaLnBrk="0" hangingPunct="0">
                  <a:defRPr/>
                </a:pPr>
                <a:endParaRPr lang="en-US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ＭＳ Ｐゴシック" pitchFamily="1" charset="-128"/>
                  <a:cs typeface="Arial" pitchFamily="34" charset="0"/>
                </a:endParaRPr>
              </a:p>
            </p:txBody>
          </p:sp>
        </p:grpSp>
        <p:grpSp>
          <p:nvGrpSpPr>
            <p:cNvPr id="33854" name="Group 83"/>
            <p:cNvGrpSpPr>
              <a:grpSpLocks/>
            </p:cNvGrpSpPr>
            <p:nvPr/>
          </p:nvGrpSpPr>
          <p:grpSpPr bwMode="auto">
            <a:xfrm>
              <a:off x="3323204" y="3532253"/>
              <a:ext cx="298528" cy="492443"/>
              <a:chOff x="5599406" y="3426864"/>
              <a:chExt cx="298528" cy="492443"/>
            </a:xfrm>
          </p:grpSpPr>
          <p:grpSp>
            <p:nvGrpSpPr>
              <p:cNvPr id="85" name="Group 84"/>
              <p:cNvGrpSpPr/>
              <p:nvPr/>
            </p:nvGrpSpPr>
            <p:grpSpPr>
              <a:xfrm>
                <a:off x="5599406" y="3516415"/>
                <a:ext cx="288000" cy="252000"/>
                <a:chOff x="3297503" y="1960054"/>
                <a:chExt cx="896104" cy="869855"/>
              </a:xfrm>
              <a:effectLst>
                <a:outerShdw blurRad="50800" sx="101000" sy="101000" algn="c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87" name="Oval 86"/>
                <p:cNvSpPr/>
                <p:nvPr/>
              </p:nvSpPr>
              <p:spPr>
                <a:xfrm>
                  <a:off x="3297503" y="1960054"/>
                  <a:ext cx="885022" cy="869855"/>
                </a:xfrm>
                <a:prstGeom prst="ellipse">
                  <a:avLst/>
                </a:prstGeom>
                <a:gradFill flip="none" rotWithShape="1">
                  <a:gsLst>
                    <a:gs pos="77000">
                      <a:schemeClr val="accent3"/>
                    </a:gs>
                    <a:gs pos="0">
                      <a:schemeClr val="accent3">
                        <a:lumMod val="60000"/>
                        <a:lumOff val="40000"/>
                      </a:schemeClr>
                    </a:gs>
                  </a:gsLst>
                  <a:lin ang="13500000" scaled="1"/>
                  <a:tileRect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8" name="Rectangle 6"/>
                <p:cNvSpPr/>
                <p:nvPr/>
              </p:nvSpPr>
              <p:spPr>
                <a:xfrm>
                  <a:off x="3780801" y="1988495"/>
                  <a:ext cx="235623" cy="15291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7681" h="328612">
                      <a:moveTo>
                        <a:pt x="0" y="0"/>
                      </a:moveTo>
                      <a:cubicBezTo>
                        <a:pt x="108744" y="9525"/>
                        <a:pt x="369886" y="64294"/>
                        <a:pt x="497681" y="228600"/>
                      </a:cubicBezTo>
                      <a:lnTo>
                        <a:pt x="381001" y="328612"/>
                      </a:lnTo>
                      <a:cubicBezTo>
                        <a:pt x="350838" y="287336"/>
                        <a:pt x="168276" y="172244"/>
                        <a:pt x="35719" y="1381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9" name="Rectangle 6"/>
                <p:cNvSpPr/>
                <p:nvPr/>
              </p:nvSpPr>
              <p:spPr>
                <a:xfrm rot="1800000">
                  <a:off x="3947274" y="2149700"/>
                  <a:ext cx="246333" cy="19595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0302" h="421115">
                      <a:moveTo>
                        <a:pt x="49005" y="0"/>
                      </a:moveTo>
                      <a:cubicBezTo>
                        <a:pt x="162745" y="3891"/>
                        <a:pt x="407262" y="172741"/>
                        <a:pt x="520302" y="340068"/>
                      </a:cubicBezTo>
                      <a:cubicBezTo>
                        <a:pt x="474101" y="346461"/>
                        <a:pt x="438701" y="390612"/>
                        <a:pt x="417419" y="421115"/>
                      </a:cubicBezTo>
                      <a:cubicBezTo>
                        <a:pt x="363125" y="333280"/>
                        <a:pt x="138104" y="168461"/>
                        <a:pt x="0" y="148532"/>
                      </a:cubicBezTo>
                      <a:lnTo>
                        <a:pt x="49005" y="0"/>
                      </a:ln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0" name="Rectangle 6"/>
                <p:cNvSpPr/>
                <p:nvPr/>
              </p:nvSpPr>
              <p:spPr>
                <a:xfrm>
                  <a:off x="3753290" y="2070492"/>
                  <a:ext cx="192782" cy="144047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61962"/>
                    <a:gd name="connsiteY0" fmla="*/ 0 h 328612"/>
                    <a:gd name="connsiteX1" fmla="*/ 461962 w 461962"/>
                    <a:gd name="connsiteY1" fmla="*/ 197644 h 328612"/>
                    <a:gd name="connsiteX2" fmla="*/ 381001 w 461962"/>
                    <a:gd name="connsiteY2" fmla="*/ 328612 h 328612"/>
                    <a:gd name="connsiteX3" fmla="*/ 35719 w 461962"/>
                    <a:gd name="connsiteY3" fmla="*/ 138113 h 328612"/>
                    <a:gd name="connsiteX4" fmla="*/ 0 w 461962"/>
                    <a:gd name="connsiteY4" fmla="*/ 0 h 328612"/>
                    <a:gd name="connsiteX0" fmla="*/ 0 w 461962"/>
                    <a:gd name="connsiteY0" fmla="*/ 0 h 319087"/>
                    <a:gd name="connsiteX1" fmla="*/ 461962 w 461962"/>
                    <a:gd name="connsiteY1" fmla="*/ 197644 h 319087"/>
                    <a:gd name="connsiteX2" fmla="*/ 381001 w 461962"/>
                    <a:gd name="connsiteY2" fmla="*/ 319087 h 319087"/>
                    <a:gd name="connsiteX3" fmla="*/ 35719 w 461962"/>
                    <a:gd name="connsiteY3" fmla="*/ 138113 h 319087"/>
                    <a:gd name="connsiteX4" fmla="*/ 0 w 461962"/>
                    <a:gd name="connsiteY4" fmla="*/ 0 h 319087"/>
                    <a:gd name="connsiteX0" fmla="*/ 100012 w 426243"/>
                    <a:gd name="connsiteY0" fmla="*/ 0 h 295274"/>
                    <a:gd name="connsiteX1" fmla="*/ 426243 w 426243"/>
                    <a:gd name="connsiteY1" fmla="*/ 173831 h 295274"/>
                    <a:gd name="connsiteX2" fmla="*/ 345282 w 426243"/>
                    <a:gd name="connsiteY2" fmla="*/ 295274 h 295274"/>
                    <a:gd name="connsiteX3" fmla="*/ 0 w 426243"/>
                    <a:gd name="connsiteY3" fmla="*/ 114300 h 295274"/>
                    <a:gd name="connsiteX4" fmla="*/ 100012 w 426243"/>
                    <a:gd name="connsiteY4" fmla="*/ 0 h 295274"/>
                    <a:gd name="connsiteX0" fmla="*/ 71437 w 397668"/>
                    <a:gd name="connsiteY0" fmla="*/ 0 h 295274"/>
                    <a:gd name="connsiteX1" fmla="*/ 397668 w 397668"/>
                    <a:gd name="connsiteY1" fmla="*/ 173831 h 295274"/>
                    <a:gd name="connsiteX2" fmla="*/ 316707 w 397668"/>
                    <a:gd name="connsiteY2" fmla="*/ 295274 h 295274"/>
                    <a:gd name="connsiteX3" fmla="*/ 0 w 397668"/>
                    <a:gd name="connsiteY3" fmla="*/ 107156 h 295274"/>
                    <a:gd name="connsiteX4" fmla="*/ 71437 w 397668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5274"/>
                    <a:gd name="connsiteX1" fmla="*/ 407193 w 407193"/>
                    <a:gd name="connsiteY1" fmla="*/ 173831 h 295274"/>
                    <a:gd name="connsiteX2" fmla="*/ 326232 w 407193"/>
                    <a:gd name="connsiteY2" fmla="*/ 295274 h 295274"/>
                    <a:gd name="connsiteX3" fmla="*/ 0 w 407193"/>
                    <a:gd name="connsiteY3" fmla="*/ 119062 h 295274"/>
                    <a:gd name="connsiteX4" fmla="*/ 80962 w 407193"/>
                    <a:gd name="connsiteY4" fmla="*/ 0 h 295274"/>
                    <a:gd name="connsiteX0" fmla="*/ 80962 w 407193"/>
                    <a:gd name="connsiteY0" fmla="*/ 0 h 297655"/>
                    <a:gd name="connsiteX1" fmla="*/ 407193 w 407193"/>
                    <a:gd name="connsiteY1" fmla="*/ 173831 h 297655"/>
                    <a:gd name="connsiteX2" fmla="*/ 323851 w 407193"/>
                    <a:gd name="connsiteY2" fmla="*/ 297655 h 297655"/>
                    <a:gd name="connsiteX3" fmla="*/ 0 w 407193"/>
                    <a:gd name="connsiteY3" fmla="*/ 119062 h 297655"/>
                    <a:gd name="connsiteX4" fmla="*/ 80962 w 407193"/>
                    <a:gd name="connsiteY4" fmla="*/ 0 h 297655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  <a:gd name="connsiteX0" fmla="*/ 83344 w 407193"/>
                    <a:gd name="connsiteY0" fmla="*/ 0 h 309561"/>
                    <a:gd name="connsiteX1" fmla="*/ 407193 w 407193"/>
                    <a:gd name="connsiteY1" fmla="*/ 185737 h 309561"/>
                    <a:gd name="connsiteX2" fmla="*/ 323851 w 407193"/>
                    <a:gd name="connsiteY2" fmla="*/ 309561 h 309561"/>
                    <a:gd name="connsiteX3" fmla="*/ 0 w 407193"/>
                    <a:gd name="connsiteY3" fmla="*/ 130968 h 309561"/>
                    <a:gd name="connsiteX4" fmla="*/ 83344 w 407193"/>
                    <a:gd name="connsiteY4" fmla="*/ 0 h 3095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193" h="309561">
                      <a:moveTo>
                        <a:pt x="83344" y="0"/>
                      </a:moveTo>
                      <a:cubicBezTo>
                        <a:pt x="220663" y="47625"/>
                        <a:pt x="286541" y="76199"/>
                        <a:pt x="407193" y="185737"/>
                      </a:cubicBezTo>
                      <a:lnTo>
                        <a:pt x="323851" y="309561"/>
                      </a:lnTo>
                      <a:cubicBezTo>
                        <a:pt x="288926" y="246854"/>
                        <a:pt x="127795" y="148430"/>
                        <a:pt x="0" y="130968"/>
                      </a:cubicBezTo>
                      <a:cubicBezTo>
                        <a:pt x="50799" y="103187"/>
                        <a:pt x="77789" y="53974"/>
                        <a:pt x="83344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1" name="Rectangle 6"/>
                <p:cNvSpPr/>
                <p:nvPr/>
              </p:nvSpPr>
              <p:spPr>
                <a:xfrm rot="1800000">
                  <a:off x="3887126" y="2212407"/>
                  <a:ext cx="190770" cy="253732"/>
                </a:xfrm>
                <a:custGeom>
                  <a:avLst/>
                  <a:gdLst>
                    <a:gd name="connsiteX0" fmla="*/ 0 w 240506"/>
                    <a:gd name="connsiteY0" fmla="*/ 0 h 138112"/>
                    <a:gd name="connsiteX1" fmla="*/ 240506 w 240506"/>
                    <a:gd name="connsiteY1" fmla="*/ 0 h 138112"/>
                    <a:gd name="connsiteX2" fmla="*/ 240506 w 240506"/>
                    <a:gd name="connsiteY2" fmla="*/ 138112 h 138112"/>
                    <a:gd name="connsiteX3" fmla="*/ 0 w 240506"/>
                    <a:gd name="connsiteY3" fmla="*/ 138112 h 138112"/>
                    <a:gd name="connsiteX4" fmla="*/ 0 w 240506"/>
                    <a:gd name="connsiteY4" fmla="*/ 0 h 138112"/>
                    <a:gd name="connsiteX0" fmla="*/ 0 w 359569"/>
                    <a:gd name="connsiteY0" fmla="*/ 0 h 311943"/>
                    <a:gd name="connsiteX1" fmla="*/ 240506 w 359569"/>
                    <a:gd name="connsiteY1" fmla="*/ 0 h 311943"/>
                    <a:gd name="connsiteX2" fmla="*/ 359569 w 359569"/>
                    <a:gd name="connsiteY2" fmla="*/ 311943 h 311943"/>
                    <a:gd name="connsiteX3" fmla="*/ 0 w 359569"/>
                    <a:gd name="connsiteY3" fmla="*/ 138112 h 311943"/>
                    <a:gd name="connsiteX4" fmla="*/ 0 w 359569"/>
                    <a:gd name="connsiteY4" fmla="*/ 0 h 311943"/>
                    <a:gd name="connsiteX0" fmla="*/ 0 w 478631"/>
                    <a:gd name="connsiteY0" fmla="*/ 0 h 311943"/>
                    <a:gd name="connsiteX1" fmla="*/ 478631 w 478631"/>
                    <a:gd name="connsiteY1" fmla="*/ 211931 h 311943"/>
                    <a:gd name="connsiteX2" fmla="*/ 359569 w 478631"/>
                    <a:gd name="connsiteY2" fmla="*/ 311943 h 311943"/>
                    <a:gd name="connsiteX3" fmla="*/ 0 w 478631"/>
                    <a:gd name="connsiteY3" fmla="*/ 138112 h 311943"/>
                    <a:gd name="connsiteX4" fmla="*/ 0 w 478631"/>
                    <a:gd name="connsiteY4" fmla="*/ 0 h 311943"/>
                    <a:gd name="connsiteX0" fmla="*/ 40481 w 478631"/>
                    <a:gd name="connsiteY0" fmla="*/ 0 h 252412"/>
                    <a:gd name="connsiteX1" fmla="*/ 478631 w 478631"/>
                    <a:gd name="connsiteY1" fmla="*/ 152400 h 252412"/>
                    <a:gd name="connsiteX2" fmla="*/ 359569 w 478631"/>
                    <a:gd name="connsiteY2" fmla="*/ 252412 h 252412"/>
                    <a:gd name="connsiteX3" fmla="*/ 0 w 478631"/>
                    <a:gd name="connsiteY3" fmla="*/ 78581 h 252412"/>
                    <a:gd name="connsiteX4" fmla="*/ 40481 w 478631"/>
                    <a:gd name="connsiteY4" fmla="*/ 0 h 2524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21432 w 500063"/>
                    <a:gd name="connsiteY3" fmla="*/ 154781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3338 w 500063"/>
                    <a:gd name="connsiteY3" fmla="*/ 126206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500063"/>
                    <a:gd name="connsiteY0" fmla="*/ 0 h 328612"/>
                    <a:gd name="connsiteX1" fmla="*/ 500063 w 500063"/>
                    <a:gd name="connsiteY1" fmla="*/ 228600 h 328612"/>
                    <a:gd name="connsiteX2" fmla="*/ 381001 w 500063"/>
                    <a:gd name="connsiteY2" fmla="*/ 328612 h 328612"/>
                    <a:gd name="connsiteX3" fmla="*/ 35719 w 500063"/>
                    <a:gd name="connsiteY3" fmla="*/ 138113 h 328612"/>
                    <a:gd name="connsiteX4" fmla="*/ 0 w 500063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35719 w 497681"/>
                    <a:gd name="connsiteY3" fmla="*/ 138113 h 328612"/>
                    <a:gd name="connsiteX4" fmla="*/ 0 w 497681"/>
                    <a:gd name="connsiteY4" fmla="*/ 0 h 328612"/>
                    <a:gd name="connsiteX0" fmla="*/ 0 w 497681"/>
                    <a:gd name="connsiteY0" fmla="*/ 0 h 328612"/>
                    <a:gd name="connsiteX1" fmla="*/ 497681 w 497681"/>
                    <a:gd name="connsiteY1" fmla="*/ 228600 h 328612"/>
                    <a:gd name="connsiteX2" fmla="*/ 381001 w 497681"/>
                    <a:gd name="connsiteY2" fmla="*/ 328612 h 328612"/>
                    <a:gd name="connsiteX3" fmla="*/ 2553 w 497681"/>
                    <a:gd name="connsiteY3" fmla="*/ 118767 h 328612"/>
                    <a:gd name="connsiteX4" fmla="*/ 0 w 497681"/>
                    <a:gd name="connsiteY4" fmla="*/ 0 h 328612"/>
                    <a:gd name="connsiteX0" fmla="*/ 47812 w 495128"/>
                    <a:gd name="connsiteY0" fmla="*/ 0 h 360440"/>
                    <a:gd name="connsiteX1" fmla="*/ 495128 w 495128"/>
                    <a:gd name="connsiteY1" fmla="*/ 260428 h 360440"/>
                    <a:gd name="connsiteX2" fmla="*/ 378448 w 495128"/>
                    <a:gd name="connsiteY2" fmla="*/ 360440 h 360440"/>
                    <a:gd name="connsiteX3" fmla="*/ 0 w 495128"/>
                    <a:gd name="connsiteY3" fmla="*/ 150595 h 360440"/>
                    <a:gd name="connsiteX4" fmla="*/ 47812 w 495128"/>
                    <a:gd name="connsiteY4" fmla="*/ 0 h 360440"/>
                    <a:gd name="connsiteX0" fmla="*/ 47812 w 513243"/>
                    <a:gd name="connsiteY0" fmla="*/ 0 h 360440"/>
                    <a:gd name="connsiteX1" fmla="*/ 513243 w 513243"/>
                    <a:gd name="connsiteY1" fmla="*/ 348956 h 360440"/>
                    <a:gd name="connsiteX2" fmla="*/ 378448 w 513243"/>
                    <a:gd name="connsiteY2" fmla="*/ 360440 h 360440"/>
                    <a:gd name="connsiteX3" fmla="*/ 0 w 513243"/>
                    <a:gd name="connsiteY3" fmla="*/ 150595 h 360440"/>
                    <a:gd name="connsiteX4" fmla="*/ 47812 w 513243"/>
                    <a:gd name="connsiteY4" fmla="*/ 0 h 360440"/>
                    <a:gd name="connsiteX0" fmla="*/ 47812 w 513243"/>
                    <a:gd name="connsiteY0" fmla="*/ 0 h 424369"/>
                    <a:gd name="connsiteX1" fmla="*/ 513243 w 513243"/>
                    <a:gd name="connsiteY1" fmla="*/ 348956 h 424369"/>
                    <a:gd name="connsiteX2" fmla="*/ 415357 w 513243"/>
                    <a:gd name="connsiteY2" fmla="*/ 424369 h 424369"/>
                    <a:gd name="connsiteX3" fmla="*/ 0 w 513243"/>
                    <a:gd name="connsiteY3" fmla="*/ 150595 h 424369"/>
                    <a:gd name="connsiteX4" fmla="*/ 47812 w 513243"/>
                    <a:gd name="connsiteY4" fmla="*/ 0 h 424369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47812 w 513243"/>
                    <a:gd name="connsiteY0" fmla="*/ 0 h 430003"/>
                    <a:gd name="connsiteX1" fmla="*/ 513243 w 513243"/>
                    <a:gd name="connsiteY1" fmla="*/ 348956 h 430003"/>
                    <a:gd name="connsiteX2" fmla="*/ 410360 w 513243"/>
                    <a:gd name="connsiteY2" fmla="*/ 430003 h 430003"/>
                    <a:gd name="connsiteX3" fmla="*/ 0 w 513243"/>
                    <a:gd name="connsiteY3" fmla="*/ 150595 h 430003"/>
                    <a:gd name="connsiteX4" fmla="*/ 47812 w 513243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54871 w 520302"/>
                    <a:gd name="connsiteY0" fmla="*/ 0 h 430003"/>
                    <a:gd name="connsiteX1" fmla="*/ 520302 w 520302"/>
                    <a:gd name="connsiteY1" fmla="*/ 348956 h 430003"/>
                    <a:gd name="connsiteX2" fmla="*/ 417419 w 520302"/>
                    <a:gd name="connsiteY2" fmla="*/ 430003 h 430003"/>
                    <a:gd name="connsiteX3" fmla="*/ 0 w 520302"/>
                    <a:gd name="connsiteY3" fmla="*/ 157420 h 430003"/>
                    <a:gd name="connsiteX4" fmla="*/ 54871 w 520302"/>
                    <a:gd name="connsiteY4" fmla="*/ 0 h 430003"/>
                    <a:gd name="connsiteX0" fmla="*/ 48684 w 520302"/>
                    <a:gd name="connsiteY0" fmla="*/ 0 h 426431"/>
                    <a:gd name="connsiteX1" fmla="*/ 520302 w 520302"/>
                    <a:gd name="connsiteY1" fmla="*/ 345384 h 426431"/>
                    <a:gd name="connsiteX2" fmla="*/ 417419 w 520302"/>
                    <a:gd name="connsiteY2" fmla="*/ 426431 h 426431"/>
                    <a:gd name="connsiteX3" fmla="*/ 0 w 520302"/>
                    <a:gd name="connsiteY3" fmla="*/ 153848 h 426431"/>
                    <a:gd name="connsiteX4" fmla="*/ 48684 w 520302"/>
                    <a:gd name="connsiteY4" fmla="*/ 0 h 426431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6942 w 520302"/>
                    <a:gd name="connsiteY0" fmla="*/ 0 h 419925"/>
                    <a:gd name="connsiteX1" fmla="*/ 520302 w 520302"/>
                    <a:gd name="connsiteY1" fmla="*/ 338878 h 419925"/>
                    <a:gd name="connsiteX2" fmla="*/ 417419 w 520302"/>
                    <a:gd name="connsiteY2" fmla="*/ 419925 h 419925"/>
                    <a:gd name="connsiteX3" fmla="*/ 0 w 520302"/>
                    <a:gd name="connsiteY3" fmla="*/ 147342 h 419925"/>
                    <a:gd name="connsiteX4" fmla="*/ 46942 w 520302"/>
                    <a:gd name="connsiteY4" fmla="*/ 0 h 419925"/>
                    <a:gd name="connsiteX0" fmla="*/ 49005 w 520302"/>
                    <a:gd name="connsiteY0" fmla="*/ 0 h 421115"/>
                    <a:gd name="connsiteX1" fmla="*/ 520302 w 520302"/>
                    <a:gd name="connsiteY1" fmla="*/ 340068 h 421115"/>
                    <a:gd name="connsiteX2" fmla="*/ 417419 w 520302"/>
                    <a:gd name="connsiteY2" fmla="*/ 421115 h 421115"/>
                    <a:gd name="connsiteX3" fmla="*/ 0 w 520302"/>
                    <a:gd name="connsiteY3" fmla="*/ 148532 h 421115"/>
                    <a:gd name="connsiteX4" fmla="*/ 49005 w 520302"/>
                    <a:gd name="connsiteY4" fmla="*/ 0 h 421115"/>
                    <a:gd name="connsiteX0" fmla="*/ 49005 w 520302"/>
                    <a:gd name="connsiteY0" fmla="*/ 0 h 548528"/>
                    <a:gd name="connsiteX1" fmla="*/ 520302 w 520302"/>
                    <a:gd name="connsiteY1" fmla="*/ 340068 h 548528"/>
                    <a:gd name="connsiteX2" fmla="*/ 391995 w 520302"/>
                    <a:gd name="connsiteY2" fmla="*/ 548528 h 548528"/>
                    <a:gd name="connsiteX3" fmla="*/ 0 w 520302"/>
                    <a:gd name="connsiteY3" fmla="*/ 148532 h 548528"/>
                    <a:gd name="connsiteX4" fmla="*/ 49005 w 520302"/>
                    <a:gd name="connsiteY4" fmla="*/ 0 h 548528"/>
                    <a:gd name="connsiteX0" fmla="*/ 49005 w 444358"/>
                    <a:gd name="connsiteY0" fmla="*/ 0 h 548528"/>
                    <a:gd name="connsiteX1" fmla="*/ 444358 w 444358"/>
                    <a:gd name="connsiteY1" fmla="*/ 265680 h 548528"/>
                    <a:gd name="connsiteX2" fmla="*/ 391995 w 444358"/>
                    <a:gd name="connsiteY2" fmla="*/ 548528 h 548528"/>
                    <a:gd name="connsiteX3" fmla="*/ 0 w 444358"/>
                    <a:gd name="connsiteY3" fmla="*/ 148532 h 548528"/>
                    <a:gd name="connsiteX4" fmla="*/ 49005 w 444358"/>
                    <a:gd name="connsiteY4" fmla="*/ 0 h 548528"/>
                    <a:gd name="connsiteX0" fmla="*/ 49005 w 448802"/>
                    <a:gd name="connsiteY0" fmla="*/ 0 h 548528"/>
                    <a:gd name="connsiteX1" fmla="*/ 448802 w 448802"/>
                    <a:gd name="connsiteY1" fmla="*/ 268615 h 548528"/>
                    <a:gd name="connsiteX2" fmla="*/ 391995 w 448802"/>
                    <a:gd name="connsiteY2" fmla="*/ 548528 h 548528"/>
                    <a:gd name="connsiteX3" fmla="*/ 0 w 448802"/>
                    <a:gd name="connsiteY3" fmla="*/ 148532 h 548528"/>
                    <a:gd name="connsiteX4" fmla="*/ 49005 w 44880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3145 w 402942"/>
                    <a:gd name="connsiteY0" fmla="*/ 0 h 548528"/>
                    <a:gd name="connsiteX1" fmla="*/ 402942 w 402942"/>
                    <a:gd name="connsiteY1" fmla="*/ 268615 h 548528"/>
                    <a:gd name="connsiteX2" fmla="*/ 346135 w 402942"/>
                    <a:gd name="connsiteY2" fmla="*/ 548528 h 548528"/>
                    <a:gd name="connsiteX3" fmla="*/ 0 w 402942"/>
                    <a:gd name="connsiteY3" fmla="*/ 166050 h 548528"/>
                    <a:gd name="connsiteX4" fmla="*/ 3145 w 402942"/>
                    <a:gd name="connsiteY4" fmla="*/ 0 h 548528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  <a:gd name="connsiteX0" fmla="*/ 2272 w 402942"/>
                    <a:gd name="connsiteY0" fmla="*/ 0 h 545275"/>
                    <a:gd name="connsiteX1" fmla="*/ 402942 w 402942"/>
                    <a:gd name="connsiteY1" fmla="*/ 265362 h 545275"/>
                    <a:gd name="connsiteX2" fmla="*/ 346135 w 402942"/>
                    <a:gd name="connsiteY2" fmla="*/ 545275 h 545275"/>
                    <a:gd name="connsiteX3" fmla="*/ 0 w 402942"/>
                    <a:gd name="connsiteY3" fmla="*/ 162797 h 545275"/>
                    <a:gd name="connsiteX4" fmla="*/ 2272 w 402942"/>
                    <a:gd name="connsiteY4" fmla="*/ 0 h 5452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2942" h="545275">
                      <a:moveTo>
                        <a:pt x="2272" y="0"/>
                      </a:moveTo>
                      <a:cubicBezTo>
                        <a:pt x="137358" y="21813"/>
                        <a:pt x="292369" y="121357"/>
                        <a:pt x="402942" y="265362"/>
                      </a:cubicBezTo>
                      <a:cubicBezTo>
                        <a:pt x="366267" y="288253"/>
                        <a:pt x="324638" y="459732"/>
                        <a:pt x="346135" y="545275"/>
                      </a:cubicBezTo>
                      <a:cubicBezTo>
                        <a:pt x="317459" y="439900"/>
                        <a:pt x="136363" y="189232"/>
                        <a:pt x="0" y="162797"/>
                      </a:cubicBezTo>
                      <a:cubicBezTo>
                        <a:pt x="1048" y="107447"/>
                        <a:pt x="1224" y="55350"/>
                        <a:pt x="2272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2" name="Rectangle 7"/>
                <p:cNvSpPr/>
                <p:nvPr/>
              </p:nvSpPr>
              <p:spPr>
                <a:xfrm>
                  <a:off x="3327366" y="2502665"/>
                  <a:ext cx="426376" cy="304302"/>
                </a:xfrm>
                <a:custGeom>
                  <a:avLst/>
                  <a:gdLst>
                    <a:gd name="connsiteX0" fmla="*/ 0 w 45719"/>
                    <a:gd name="connsiteY0" fmla="*/ 0 h 296052"/>
                    <a:gd name="connsiteX1" fmla="*/ 45719 w 45719"/>
                    <a:gd name="connsiteY1" fmla="*/ 0 h 296052"/>
                    <a:gd name="connsiteX2" fmla="*/ 45719 w 45719"/>
                    <a:gd name="connsiteY2" fmla="*/ 296052 h 296052"/>
                    <a:gd name="connsiteX3" fmla="*/ 0 w 45719"/>
                    <a:gd name="connsiteY3" fmla="*/ 296052 h 296052"/>
                    <a:gd name="connsiteX4" fmla="*/ 0 w 45719"/>
                    <a:gd name="connsiteY4" fmla="*/ 0 h 296052"/>
                    <a:gd name="connsiteX0" fmla="*/ 0 w 355282"/>
                    <a:gd name="connsiteY0" fmla="*/ 0 h 343677"/>
                    <a:gd name="connsiteX1" fmla="*/ 355282 w 355282"/>
                    <a:gd name="connsiteY1" fmla="*/ 47625 h 343677"/>
                    <a:gd name="connsiteX2" fmla="*/ 355282 w 355282"/>
                    <a:gd name="connsiteY2" fmla="*/ 343677 h 343677"/>
                    <a:gd name="connsiteX3" fmla="*/ 309563 w 355282"/>
                    <a:gd name="connsiteY3" fmla="*/ 343677 h 343677"/>
                    <a:gd name="connsiteX4" fmla="*/ 0 w 355282"/>
                    <a:gd name="connsiteY4" fmla="*/ 0 h 343677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309563 w 905350"/>
                    <a:gd name="connsiteY3" fmla="*/ 343677 h 665146"/>
                    <a:gd name="connsiteX4" fmla="*/ 0 w 905350"/>
                    <a:gd name="connsiteY4" fmla="*/ 0 h 665146"/>
                    <a:gd name="connsiteX0" fmla="*/ 0 w 905350"/>
                    <a:gd name="connsiteY0" fmla="*/ 0 h 665146"/>
                    <a:gd name="connsiteX1" fmla="*/ 355282 w 905350"/>
                    <a:gd name="connsiteY1" fmla="*/ 47625 h 665146"/>
                    <a:gd name="connsiteX2" fmla="*/ 905350 w 905350"/>
                    <a:gd name="connsiteY2" fmla="*/ 665146 h 665146"/>
                    <a:gd name="connsiteX3" fmla="*/ 0 w 905350"/>
                    <a:gd name="connsiteY3" fmla="*/ 0 h 665146"/>
                    <a:gd name="connsiteX0" fmla="*/ 0 w 905350"/>
                    <a:gd name="connsiteY0" fmla="*/ 0 h 665286"/>
                    <a:gd name="connsiteX1" fmla="*/ 355282 w 905350"/>
                    <a:gd name="connsiteY1" fmla="*/ 47625 h 665286"/>
                    <a:gd name="connsiteX2" fmla="*/ 905350 w 905350"/>
                    <a:gd name="connsiteY2" fmla="*/ 665146 h 665286"/>
                    <a:gd name="connsiteX3" fmla="*/ 0 w 905350"/>
                    <a:gd name="connsiteY3" fmla="*/ 0 h 665286"/>
                    <a:gd name="connsiteX0" fmla="*/ 0 w 902969"/>
                    <a:gd name="connsiteY0" fmla="*/ 0 h 658144"/>
                    <a:gd name="connsiteX1" fmla="*/ 355282 w 902969"/>
                    <a:gd name="connsiteY1" fmla="*/ 47625 h 658144"/>
                    <a:gd name="connsiteX2" fmla="*/ 902969 w 902969"/>
                    <a:gd name="connsiteY2" fmla="*/ 658002 h 658144"/>
                    <a:gd name="connsiteX3" fmla="*/ 0 w 902969"/>
                    <a:gd name="connsiteY3" fmla="*/ 0 h 658144"/>
                    <a:gd name="connsiteX0" fmla="*/ 0 w 895825"/>
                    <a:gd name="connsiteY0" fmla="*/ 0 h 660525"/>
                    <a:gd name="connsiteX1" fmla="*/ 348138 w 895825"/>
                    <a:gd name="connsiteY1" fmla="*/ 50007 h 660525"/>
                    <a:gd name="connsiteX2" fmla="*/ 895825 w 895825"/>
                    <a:gd name="connsiteY2" fmla="*/ 660384 h 660525"/>
                    <a:gd name="connsiteX3" fmla="*/ 0 w 895825"/>
                    <a:gd name="connsiteY3" fmla="*/ 0 h 660525"/>
                    <a:gd name="connsiteX0" fmla="*/ 0 w 895825"/>
                    <a:gd name="connsiteY0" fmla="*/ 0 h 660561"/>
                    <a:gd name="connsiteX1" fmla="*/ 348138 w 895825"/>
                    <a:gd name="connsiteY1" fmla="*/ 50007 h 660561"/>
                    <a:gd name="connsiteX2" fmla="*/ 895825 w 895825"/>
                    <a:gd name="connsiteY2" fmla="*/ 660384 h 660561"/>
                    <a:gd name="connsiteX3" fmla="*/ 0 w 895825"/>
                    <a:gd name="connsiteY3" fmla="*/ 0 h 660561"/>
                    <a:gd name="connsiteX0" fmla="*/ 0 w 895825"/>
                    <a:gd name="connsiteY0" fmla="*/ 0 h 660426"/>
                    <a:gd name="connsiteX1" fmla="*/ 348138 w 895825"/>
                    <a:gd name="connsiteY1" fmla="*/ 50007 h 660426"/>
                    <a:gd name="connsiteX2" fmla="*/ 895825 w 895825"/>
                    <a:gd name="connsiteY2" fmla="*/ 660384 h 660426"/>
                    <a:gd name="connsiteX3" fmla="*/ 0 w 895825"/>
                    <a:gd name="connsiteY3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895825"/>
                    <a:gd name="connsiteY0" fmla="*/ 0 h 660426"/>
                    <a:gd name="connsiteX1" fmla="*/ 895825 w 895825"/>
                    <a:gd name="connsiteY1" fmla="*/ 660384 h 660426"/>
                    <a:gd name="connsiteX2" fmla="*/ 0 w 895825"/>
                    <a:gd name="connsiteY2" fmla="*/ 0 h 660426"/>
                    <a:gd name="connsiteX0" fmla="*/ 0 w 900587"/>
                    <a:gd name="connsiteY0" fmla="*/ 0 h 653284"/>
                    <a:gd name="connsiteX1" fmla="*/ 900587 w 900587"/>
                    <a:gd name="connsiteY1" fmla="*/ 653241 h 653284"/>
                    <a:gd name="connsiteX2" fmla="*/ 0 w 900587"/>
                    <a:gd name="connsiteY2" fmla="*/ 0 h 653284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  <a:gd name="connsiteX0" fmla="*/ 0 w 900587"/>
                    <a:gd name="connsiteY0" fmla="*/ 0 h 653951"/>
                    <a:gd name="connsiteX1" fmla="*/ 900587 w 900587"/>
                    <a:gd name="connsiteY1" fmla="*/ 653241 h 653951"/>
                    <a:gd name="connsiteX2" fmla="*/ 0 w 900587"/>
                    <a:gd name="connsiteY2" fmla="*/ 0 h 653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00587" h="653951">
                      <a:moveTo>
                        <a:pt x="0" y="0"/>
                      </a:moveTo>
                      <a:cubicBezTo>
                        <a:pt x="115251" y="279659"/>
                        <a:pt x="432910" y="642663"/>
                        <a:pt x="900587" y="653241"/>
                      </a:cubicBezTo>
                      <a:cubicBezTo>
                        <a:pt x="420210" y="672031"/>
                        <a:pt x="80327" y="314584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40000"/>
                    <a:lumOff val="60000"/>
                    <a:alpha val="59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US" b="1" kern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86" name="Rectangle 163"/>
              <p:cNvSpPr>
                <a:spLocks noChangeArrowheads="1"/>
              </p:cNvSpPr>
              <p:nvPr/>
            </p:nvSpPr>
            <p:spPr bwMode="auto">
              <a:xfrm>
                <a:off x="5609739" y="3426235"/>
                <a:ext cx="288919" cy="4928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 defTabSz="457200" eaLnBrk="0" hangingPunct="0">
                  <a:defRPr/>
                </a:pPr>
                <a:endParaRPr lang="en-US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ＭＳ Ｐゴシック" pitchFamily="1" charset="-128"/>
                  <a:cs typeface="Arial" pitchFamily="34" charset="0"/>
                </a:endParaRPr>
              </a:p>
            </p:txBody>
          </p:sp>
        </p:grpSp>
      </p:grpSp>
      <p:sp>
        <p:nvSpPr>
          <p:cNvPr id="33813" name="Rectangle 319"/>
          <p:cNvSpPr>
            <a:spLocks noChangeArrowheads="1"/>
          </p:cNvSpPr>
          <p:nvPr/>
        </p:nvSpPr>
        <p:spPr bwMode="auto">
          <a:xfrm>
            <a:off x="788988" y="4881563"/>
            <a:ext cx="41878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AU" sz="1000" i="1" smtClean="0">
                <a:solidFill>
                  <a:srgbClr val="606060"/>
                </a:solidFill>
                <a:cs typeface="Arial" pitchFamily="34" charset="0"/>
              </a:rPr>
              <a:t>Patent: WO 2013/123552</a:t>
            </a:r>
          </a:p>
        </p:txBody>
      </p:sp>
      <p:grpSp>
        <p:nvGrpSpPr>
          <p:cNvPr id="142" name="Group 141"/>
          <p:cNvGrpSpPr>
            <a:grpSpLocks/>
          </p:cNvGrpSpPr>
          <p:nvPr/>
        </p:nvGrpSpPr>
        <p:grpSpPr bwMode="auto">
          <a:xfrm>
            <a:off x="7659688" y="2859088"/>
            <a:ext cx="1271587" cy="188912"/>
            <a:chOff x="7659300" y="3961897"/>
            <a:chExt cx="1272008" cy="252000"/>
          </a:xfrm>
        </p:grpSpPr>
        <p:sp>
          <p:nvSpPr>
            <p:cNvPr id="143" name="Rectangle 257"/>
            <p:cNvSpPr>
              <a:spLocks noChangeArrowheads="1"/>
            </p:cNvSpPr>
            <p:nvPr/>
          </p:nvSpPr>
          <p:spPr bwMode="auto">
            <a:xfrm>
              <a:off x="7659300" y="4033654"/>
              <a:ext cx="1116000" cy="162000"/>
            </a:xfrm>
            <a:prstGeom prst="round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scene3d>
              <a:camera prst="perspectiveBelow"/>
              <a:lightRig rig="threePt" dir="t"/>
            </a:scene3d>
            <a:sp3d prstMaterial="plastic"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4" name="Oval 143"/>
            <p:cNvSpPr/>
            <p:nvPr/>
          </p:nvSpPr>
          <p:spPr>
            <a:xfrm>
              <a:off x="8647052" y="3961897"/>
              <a:ext cx="284256" cy="252000"/>
            </a:xfrm>
            <a:prstGeom prst="ellipse">
              <a:avLst/>
            </a:prstGeom>
            <a:gradFill flip="none" rotWithShape="1">
              <a:gsLst>
                <a:gs pos="77000">
                  <a:schemeClr val="accent3"/>
                </a:gs>
                <a:gs pos="0">
                  <a:schemeClr val="accent3">
                    <a:lumMod val="60000"/>
                    <a:lumOff val="40000"/>
                  </a:schemeClr>
                </a:gs>
              </a:gsLst>
              <a:lin ang="135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b="1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5" name="Group 144"/>
          <p:cNvGrpSpPr>
            <a:grpSpLocks/>
          </p:cNvGrpSpPr>
          <p:nvPr/>
        </p:nvGrpSpPr>
        <p:grpSpPr bwMode="auto">
          <a:xfrm>
            <a:off x="6618288" y="2600325"/>
            <a:ext cx="1173162" cy="188913"/>
            <a:chOff x="6361143" y="3632415"/>
            <a:chExt cx="1172157" cy="252000"/>
          </a:xfrm>
        </p:grpSpPr>
        <p:sp>
          <p:nvSpPr>
            <p:cNvPr id="147" name="Rectangle 257"/>
            <p:cNvSpPr>
              <a:spLocks noChangeArrowheads="1"/>
            </p:cNvSpPr>
            <p:nvPr/>
          </p:nvSpPr>
          <p:spPr bwMode="auto">
            <a:xfrm>
              <a:off x="6417300" y="3722414"/>
              <a:ext cx="1116000" cy="162000"/>
            </a:xfrm>
            <a:prstGeom prst="round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</a:ln>
            <a:effectLst/>
            <a:scene3d>
              <a:camera prst="perspectiveBelow"/>
              <a:lightRig rig="threePt" dir="t"/>
            </a:scene3d>
            <a:sp3d prstMaterial="plastic"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AU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" name="Oval 147"/>
            <p:cNvSpPr/>
            <p:nvPr/>
          </p:nvSpPr>
          <p:spPr>
            <a:xfrm>
              <a:off x="6361143" y="3632415"/>
              <a:ext cx="284438" cy="252000"/>
            </a:xfrm>
            <a:prstGeom prst="ellipse">
              <a:avLst/>
            </a:prstGeom>
            <a:gradFill flip="none" rotWithShape="1">
              <a:gsLst>
                <a:gs pos="0">
                  <a:srgbClr val="FF9900"/>
                </a:gs>
                <a:gs pos="50000">
                  <a:srgbClr val="FCF004"/>
                </a:gs>
                <a:gs pos="100000">
                  <a:srgbClr val="FF9900"/>
                </a:gs>
              </a:gsLst>
              <a:path path="circle">
                <a:fillToRect l="100000" t="100000"/>
              </a:path>
              <a:tileRect r="-100000" b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b="1" kern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49" name="TextBox 148"/>
          <p:cNvSpPr txBox="1">
            <a:spLocks noChangeArrowheads="1"/>
          </p:cNvSpPr>
          <p:nvPr/>
        </p:nvSpPr>
        <p:spPr bwMode="auto">
          <a:xfrm>
            <a:off x="3724275" y="2481263"/>
            <a:ext cx="1824038" cy="3079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AU" altLang="en-US" sz="1400" b="1" kern="0" dirty="0" smtClean="0">
                <a:solidFill>
                  <a:srgbClr val="009187">
                    <a:lumMod val="75000"/>
                  </a:srgbClr>
                </a:soli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gnal Probe</a:t>
            </a:r>
            <a:endParaRPr lang="en-US" altLang="en-US" sz="1400" b="1" kern="0" dirty="0">
              <a:solidFill>
                <a:srgbClr val="009187">
                  <a:lumMod val="75000"/>
                </a:srgbClr>
              </a:solidFill>
              <a:latin typeface="Calibri" panose="020F0502020204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Right Arrow 152"/>
          <p:cNvSpPr/>
          <p:nvPr/>
        </p:nvSpPr>
        <p:spPr>
          <a:xfrm rot="21156598" flipV="1">
            <a:off x="5641249" y="2502607"/>
            <a:ext cx="906497" cy="147497"/>
          </a:xfrm>
          <a:prstGeom prst="rightArrow">
            <a:avLst/>
          </a:prstGeom>
          <a:gradFill flip="none" rotWithShape="1">
            <a:gsLst>
              <a:gs pos="0">
                <a:srgbClr val="FFFFFF">
                  <a:lumMod val="95000"/>
                  <a:alpha val="0"/>
                </a:srgbClr>
              </a:gs>
              <a:gs pos="50000">
                <a:srgbClr val="B9B9B9"/>
              </a:gs>
              <a:gs pos="100000">
                <a:sysClr val="window" lastClr="FFFFFF">
                  <a:lumMod val="50000"/>
                </a:sys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Open Sans"/>
              <a:cs typeface="Arial" pitchFamily="34" charset="0"/>
            </a:endParaRPr>
          </a:p>
        </p:txBody>
      </p:sp>
      <p:sp>
        <p:nvSpPr>
          <p:cNvPr id="154" name="16-Point Star 153"/>
          <p:cNvSpPr/>
          <p:nvPr/>
        </p:nvSpPr>
        <p:spPr>
          <a:xfrm>
            <a:off x="6575425" y="2559050"/>
            <a:ext cx="360363" cy="263525"/>
          </a:xfrm>
          <a:prstGeom prst="star16">
            <a:avLst>
              <a:gd name="adj" fmla="val 32636"/>
            </a:avLst>
          </a:prstGeom>
          <a:solidFill>
            <a:srgbClr val="FFFF00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b="1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5" name="16-Point Star 154"/>
          <p:cNvSpPr/>
          <p:nvPr/>
        </p:nvSpPr>
        <p:spPr>
          <a:xfrm>
            <a:off x="6573838" y="2557463"/>
            <a:ext cx="358775" cy="265112"/>
          </a:xfrm>
          <a:prstGeom prst="star16">
            <a:avLst>
              <a:gd name="adj" fmla="val 32636"/>
            </a:avLst>
          </a:prstGeom>
          <a:solidFill>
            <a:srgbClr val="FFFF00">
              <a:alpha val="5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b="1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6618846" y="2596777"/>
            <a:ext cx="284438" cy="189000"/>
          </a:xfrm>
          <a:prstGeom prst="ellipse">
            <a:avLst/>
          </a:prstGeom>
          <a:gradFill flip="none" rotWithShape="1">
            <a:gsLst>
              <a:gs pos="0">
                <a:srgbClr val="FF9900"/>
              </a:gs>
              <a:gs pos="50000">
                <a:srgbClr val="FCF004"/>
              </a:gs>
              <a:gs pos="100000">
                <a:srgbClr val="FF9900"/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b="1" ker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30175" y="815975"/>
            <a:ext cx="4125913" cy="25669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AU" sz="2000" b="1" i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</a:t>
            </a:r>
          </a:p>
          <a:p>
            <a:pPr algn="ctr">
              <a:defRPr/>
            </a:pPr>
            <a:r>
              <a:rPr lang="en-AU" sz="2000" b="1" i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</a:t>
            </a:r>
            <a:r>
              <a:rPr lang="en-AU" sz="1400" b="1" i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en-AU" sz="1400" b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ismatched </a:t>
            </a:r>
          </a:p>
          <a:p>
            <a:pPr algn="ctr">
              <a:lnSpc>
                <a:spcPts val="1300"/>
              </a:lnSpc>
              <a:defRPr/>
            </a:pPr>
            <a:r>
              <a:rPr lang="en-AU" sz="1400" b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                   to target</a:t>
            </a:r>
          </a:p>
          <a:p>
            <a:pPr algn="ctr">
              <a:lnSpc>
                <a:spcPts val="3000"/>
              </a:lnSpc>
              <a:defRPr/>
            </a:pPr>
            <a:r>
              <a:rPr lang="en-AU" b="1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   </a:t>
            </a:r>
            <a:r>
              <a:rPr lang="en-AU" sz="1600" b="1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sert</a:t>
            </a:r>
          </a:p>
          <a:p>
            <a:pPr algn="ctr">
              <a:lnSpc>
                <a:spcPts val="3000"/>
              </a:lnSpc>
              <a:defRPr/>
            </a:pPr>
            <a:r>
              <a:rPr lang="en-AU" b="1" dirty="0">
                <a:solidFill>
                  <a:prstClr val="white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538163">
              <a:defRPr/>
            </a:pPr>
            <a:r>
              <a:rPr lang="en-AU" sz="1600" b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ncreases specificity</a:t>
            </a:r>
          </a:p>
          <a:p>
            <a:pPr marL="538163">
              <a:defRPr/>
            </a:pPr>
            <a:r>
              <a:rPr lang="en-AU" sz="1600" b="1" dirty="0">
                <a:solidFill>
                  <a:srgbClr val="FF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iffers for each muta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AU" b="1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en-AU" sz="400" b="1" dirty="0">
              <a:solidFill>
                <a:srgbClr val="FF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  <a:defRPr/>
            </a:pPr>
            <a:endParaRPr lang="en-AU" altLang="en-US" sz="600" b="1" kern="0" dirty="0">
              <a:solidFill>
                <a:srgbClr val="1F497D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681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1000" fill="hold"/>
                                        <p:tgtEl>
                                          <p:spTgt spid="15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149" grpId="0"/>
      <p:bldP spid="154" grpId="0" animBg="1"/>
      <p:bldP spid="155" grpId="0" animBg="1"/>
      <p:bldP spid="155" grpId="1" animBg="1"/>
      <p:bldP spid="5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8" y="185738"/>
            <a:ext cx="8229600" cy="857250"/>
          </a:xfrm>
        </p:spPr>
        <p:txBody>
          <a:bodyPr rtlCol="0" anchor="t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AU" sz="3100" i="1" dirty="0" err="1" smtClean="0">
                <a:solidFill>
                  <a:srgbClr val="EC1C29"/>
                </a:solidFill>
                <a:cs typeface="Open Sans"/>
              </a:rPr>
              <a:t>Resistance</a:t>
            </a:r>
            <a:r>
              <a:rPr lang="en-AU" sz="3100" i="1" dirty="0" err="1" smtClean="0">
                <a:solidFill>
                  <a:srgbClr val="003D46"/>
                </a:solidFill>
                <a:cs typeface="Open Sans"/>
              </a:rPr>
              <a:t>Plus</a:t>
            </a:r>
            <a:r>
              <a:rPr lang="en-AU" sz="3100" dirty="0" smtClean="0">
                <a:solidFill>
                  <a:srgbClr val="003D46"/>
                </a:solidFill>
                <a:cs typeface="Open Sans"/>
              </a:rPr>
              <a:t>™ MG</a:t>
            </a:r>
            <a:r>
              <a:rPr lang="en-AU" dirty="0" smtClean="0">
                <a:solidFill>
                  <a:srgbClr val="003D46"/>
                </a:solidFill>
                <a:cs typeface="Open Sans"/>
              </a:rPr>
              <a:t/>
            </a:r>
            <a:br>
              <a:rPr lang="en-AU" dirty="0" smtClean="0">
                <a:solidFill>
                  <a:srgbClr val="003D46"/>
                </a:solidFill>
                <a:cs typeface="Open Sans"/>
              </a:rPr>
            </a:br>
            <a:r>
              <a:rPr lang="en-AU" sz="2700" dirty="0" smtClean="0">
                <a:solidFill>
                  <a:srgbClr val="003D46"/>
                </a:solidFill>
                <a:cs typeface="Open Sans"/>
              </a:rPr>
              <a:t>Sensitivity and specificity</a:t>
            </a:r>
            <a:endParaRPr lang="en-AU" dirty="0"/>
          </a:p>
        </p:txBody>
      </p:sp>
      <p:sp>
        <p:nvSpPr>
          <p:cNvPr id="34818" name="Slide Number Placeholder 3"/>
          <p:cNvSpPr txBox="1">
            <a:spLocks/>
          </p:cNvSpPr>
          <p:nvPr/>
        </p:nvSpPr>
        <p:spPr bwMode="auto">
          <a:xfrm>
            <a:off x="8747125" y="4870450"/>
            <a:ext cx="3968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75A7C1D-006E-463F-8570-FE1F88F52798}" type="slidenum">
              <a:rPr lang="en-US" sz="1200" smtClean="0">
                <a:solidFill>
                  <a:srgbClr val="FFFFFF"/>
                </a:solidFill>
                <a:ea typeface="MS PGothic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 smtClean="0">
              <a:solidFill>
                <a:srgbClr val="FFFFFF"/>
              </a:solidFill>
              <a:ea typeface="MS PGothic" pitchFamily="34" charset="-128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646238" y="1203325"/>
          <a:ext cx="3502026" cy="2555874"/>
        </p:xfrm>
        <a:graphic>
          <a:graphicData uri="http://schemas.openxmlformats.org/drawingml/2006/table">
            <a:tbl>
              <a:tblPr firstRow="1" bandRow="1"/>
              <a:tblGrid>
                <a:gridCol w="1269934"/>
                <a:gridCol w="1116046"/>
                <a:gridCol w="1116046"/>
              </a:tblGrid>
              <a:tr h="5029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en-AU" sz="1400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dirty="0" smtClean="0">
                          <a:latin typeface="Calibri" panose="020F0502020204030204" pitchFamily="34" charset="0"/>
                        </a:rPr>
                        <a:t>Target</a:t>
                      </a:r>
                      <a:endParaRPr lang="en-AU" sz="1400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</a:tr>
              <a:tr h="32670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nel 1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4" marR="91434" marT="34295" marB="34295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MG detection (</a:t>
                      </a:r>
                      <a:r>
                        <a:rPr lang="en-AU" sz="1400" b="1" dirty="0" err="1" smtClean="0">
                          <a:latin typeface="Calibri" panose="020F0502020204030204" pitchFamily="34" charset="0"/>
                        </a:rPr>
                        <a:t>MgPa</a:t>
                      </a: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)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</a:tr>
              <a:tr h="285791">
                <a:tc rowSpan="5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nel 2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4" marR="91434" marT="34295" marB="34295" anchor="ctr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rowSpan="5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23S </a:t>
                      </a:r>
                      <a:r>
                        <a:rPr lang="en-AU" sz="1400" b="1" dirty="0" err="1" smtClean="0">
                          <a:latin typeface="Calibri" panose="020F0502020204030204" pitchFamily="34" charset="0"/>
                        </a:rPr>
                        <a:t>rRNA</a:t>
                      </a: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 mutation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8G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9G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8T</a:t>
                      </a:r>
                    </a:p>
                  </a:txBody>
                  <a:tcPr marL="91434" marR="91434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8C</a:t>
                      </a:r>
                    </a:p>
                  </a:txBody>
                  <a:tcPr marL="91434" marR="91434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85791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AU" sz="20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AU" sz="1900" b="1" dirty="0"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A2059C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>
                    <a:lnL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lumMod val="20000"/>
                        <a:lumOff val="80000"/>
                      </a:srgbClr>
                    </a:solidFill>
                  </a:tcPr>
                </a:tc>
              </a:tr>
              <a:tr h="29722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AU" sz="1500" b="1" kern="1200" dirty="0" smtClean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hannel 3</a:t>
                      </a:r>
                      <a:endParaRPr lang="en-AU" sz="15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4" marR="91434" marT="34295" marB="34295">
                    <a:lnL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4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AU" sz="1400" b="1" dirty="0" smtClean="0">
                          <a:latin typeface="Calibri" panose="020F0502020204030204" pitchFamily="34" charset="0"/>
                        </a:rPr>
                        <a:t>Internal Control</a:t>
                      </a:r>
                      <a:endParaRPr lang="en-AU" sz="1400" b="1" dirty="0">
                        <a:latin typeface="Calibri" panose="020F0502020204030204" pitchFamily="34" charset="0"/>
                      </a:endParaRPr>
                    </a:p>
                  </a:txBody>
                  <a:tcPr marL="91434" marR="91434" marT="34295" marB="3429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3D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852403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slide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8064A2"/>
      </a:accent4>
      <a:accent5>
        <a:srgbClr val="B1DFD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Body 1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B1DFDF"/>
      </a:accent4>
      <a:accent5>
        <a:srgbClr val="080808"/>
      </a:accent5>
      <a:accent6>
        <a:srgbClr val="0000F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861</Words>
  <Application>Microsoft Office PowerPoint</Application>
  <PresentationFormat>On-screen Show (16:9)</PresentationFormat>
  <Paragraphs>243</Paragraphs>
  <Slides>1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Custom Design</vt:lpstr>
      <vt:lpstr>6_Custom Design</vt:lpstr>
      <vt:lpstr>NHS_CF_LN9471</vt:lpstr>
      <vt:lpstr>Title slide</vt:lpstr>
      <vt:lpstr>Body 1</vt:lpstr>
      <vt:lpstr>think-cell Slide</vt:lpstr>
      <vt:lpstr>A qPCR assay that simultaneously detects Mycoplasma genitalium and mutations associated with macrolide resistance  Litty Tan Director of Research &amp; Development littyt@speedx.com.au  </vt:lpstr>
      <vt:lpstr>Investigators</vt:lpstr>
      <vt:lpstr>Mycoplasma genitalium (MG) clinical association</vt:lpstr>
      <vt:lpstr>Challenges of current clinical practice</vt:lpstr>
      <vt:lpstr>Current limitations of MG testing</vt:lpstr>
      <vt:lpstr>PowerPoint Presentation</vt:lpstr>
      <vt:lpstr>PlexZyme™ detection technology </vt:lpstr>
      <vt:lpstr>PlexPrime™ for mutation detection Enhanced specificity and superior multiplexing</vt:lpstr>
      <vt:lpstr>ResistancePlus™ MG Sensitivity and specificity</vt:lpstr>
      <vt:lpstr>ResistancePlus™ MG Sensitivity and specificity</vt:lpstr>
      <vt:lpstr>Prospective study: ResistancePlus™ MG Sample cohort</vt:lpstr>
      <vt:lpstr>Prospective study: ResistancePlus™ MG Clinical results</vt:lpstr>
      <vt:lpstr>Prospective study: ResistancePlus™ MG Clinical results</vt:lpstr>
      <vt:lpstr>ResistancePlus™ MG and future directions 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7</cp:revision>
  <dcterms:created xsi:type="dcterms:W3CDTF">2015-05-13T13:06:46Z</dcterms:created>
  <dcterms:modified xsi:type="dcterms:W3CDTF">2016-07-11T15:51:00Z</dcterms:modified>
</cp:coreProperties>
</file>